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506" r:id="rId4"/>
    <p:sldMasterId id="2147484556" r:id="rId5"/>
    <p:sldMasterId id="2147484618" r:id="rId6"/>
    <p:sldMasterId id="2147484631" r:id="rId7"/>
    <p:sldMasterId id="2147484641" r:id="rId8"/>
  </p:sldMasterIdLst>
  <p:notesMasterIdLst>
    <p:notesMasterId r:id="rId17"/>
  </p:notesMasterIdLst>
  <p:handoutMasterIdLst>
    <p:handoutMasterId r:id="rId18"/>
  </p:handoutMasterIdLst>
  <p:sldIdLst>
    <p:sldId id="547" r:id="rId9"/>
    <p:sldId id="4175" r:id="rId10"/>
    <p:sldId id="4181" r:id="rId11"/>
    <p:sldId id="4176" r:id="rId12"/>
    <p:sldId id="4180" r:id="rId13"/>
    <p:sldId id="4182" r:id="rId14"/>
    <p:sldId id="4178" r:id="rId15"/>
    <p:sldId id="4179" r:id="rId16"/>
  </p:sldIdLst>
  <p:sldSz cx="12192000" cy="6858000"/>
  <p:notesSz cx="6858000" cy="9144000"/>
  <p:embeddedFontLst>
    <p:embeddedFont>
      <p:font typeface="Arial Black" panose="020B0A04020102020204" pitchFamily="34" charset="0"/>
      <p:bold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libri Light" panose="020F0302020204030204" pitchFamily="34" charset="0"/>
      <p:regular r:id="rId24"/>
      <p:italic r:id="rId25"/>
    </p:embeddedFont>
    <p:embeddedFont>
      <p:font typeface="Trebuchet MS" panose="020B0603020202020204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D585E0A-939C-6645-B6F4-52AC6DD6D835}">
          <p14:sldIdLst>
            <p14:sldId id="547"/>
            <p14:sldId id="4175"/>
            <p14:sldId id="4181"/>
            <p14:sldId id="4176"/>
            <p14:sldId id="4180"/>
            <p14:sldId id="4182"/>
            <p14:sldId id="4178"/>
          </p14:sldIdLst>
        </p14:section>
        <p14:section name="Thank you" id="{35703387-BB29-489C-873B-A141D5B15AB5}">
          <p14:sldIdLst>
            <p14:sldId id="4179"/>
          </p14:sldIdLst>
        </p14:section>
      </p14:sectionLst>
    </p:ext>
    <p:ext uri="{EFAFB233-063F-42B5-8137-9DF3F51BA10A}">
      <p15:sldGuideLst xmlns:p15="http://schemas.microsoft.com/office/powerpoint/2012/main">
        <p15:guide id="1" pos="3864" userDrawn="1">
          <p15:clr>
            <a:srgbClr val="A4A3A4"/>
          </p15:clr>
        </p15:guide>
        <p15:guide id="2" orient="horz" pos="218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odor Piletski" initials="TP [3]" lastIdx="1" clrIdx="0"/>
  <p:cmAuthor id="3" name="Gianfranco Panico" initials="GP" lastIdx="31" clrIdx="2"/>
  <p:cmAuthor id="4" name="Katerina Fedorets" initials="KF" lastIdx="1" clrIdx="1"/>
  <p:cmAuthor id="5" name="Vladimir Agres" initials="VA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1CAF"/>
    <a:srgbClr val="D7F5F9"/>
    <a:srgbClr val="92D050"/>
    <a:srgbClr val="FFE07D"/>
    <a:srgbClr val="282828"/>
    <a:srgbClr val="39C2D7"/>
    <a:srgbClr val="068E9B"/>
    <a:srgbClr val="FFEEB7"/>
    <a:srgbClr val="DEEBF7"/>
    <a:srgbClr val="FFF2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0BFFF3-7D8C-4EDF-9DDD-1EE6DACBF73D}" v="60" dt="2021-02-25T12:02:00.2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32" y="162"/>
      </p:cViewPr>
      <p:guideLst>
        <p:guide pos="3864"/>
        <p:guide orient="horz" pos="218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6.fntdata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font" Target="fonts/font1.fntdata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dzim Kazak1" userId="cebc28ae-015e-4957-bc28-65a9267ad187" providerId="ADAL" clId="{D10BFFF3-7D8C-4EDF-9DDD-1EE6DACBF73D}"/>
    <pc:docChg chg="undo redo custSel addSld delSld modSld sldOrd modMainMaster modSection">
      <pc:chgData name="Vadzim Kazak1" userId="cebc28ae-015e-4957-bc28-65a9267ad187" providerId="ADAL" clId="{D10BFFF3-7D8C-4EDF-9DDD-1EE6DACBF73D}" dt="2021-02-25T12:02:00.263" v="1265" actId="164"/>
      <pc:docMkLst>
        <pc:docMk/>
      </pc:docMkLst>
      <pc:sldChg chg="delSp modSp mod ord">
        <pc:chgData name="Vadzim Kazak1" userId="cebc28ae-015e-4957-bc28-65a9267ad187" providerId="ADAL" clId="{D10BFFF3-7D8C-4EDF-9DDD-1EE6DACBF73D}" dt="2021-01-12T08:46:34.192" v="1133" actId="1076"/>
        <pc:sldMkLst>
          <pc:docMk/>
          <pc:sldMk cId="1877414535" sldId="547"/>
        </pc:sldMkLst>
        <pc:spChg chg="del">
          <ac:chgData name="Vadzim Kazak1" userId="cebc28ae-015e-4957-bc28-65a9267ad187" providerId="ADAL" clId="{D10BFFF3-7D8C-4EDF-9DDD-1EE6DACBF73D}" dt="2021-01-11T10:44:09.926" v="1096" actId="478"/>
          <ac:spMkLst>
            <pc:docMk/>
            <pc:sldMk cId="1877414535" sldId="547"/>
            <ac:spMk id="7" creationId="{AD0129EF-EA1B-4A90-8446-A9FD145827FC}"/>
          </ac:spMkLst>
        </pc:spChg>
        <pc:spChg chg="mod">
          <ac:chgData name="Vadzim Kazak1" userId="cebc28ae-015e-4957-bc28-65a9267ad187" providerId="ADAL" clId="{D10BFFF3-7D8C-4EDF-9DDD-1EE6DACBF73D}" dt="2021-01-12T08:46:34.192" v="1133" actId="1076"/>
          <ac:spMkLst>
            <pc:docMk/>
            <pc:sldMk cId="1877414535" sldId="547"/>
            <ac:spMk id="12" creationId="{00000000-0000-0000-0000-000000000000}"/>
          </ac:spMkLst>
        </pc:spChg>
        <pc:picChg chg="del">
          <ac:chgData name="Vadzim Kazak1" userId="cebc28ae-015e-4957-bc28-65a9267ad187" providerId="ADAL" clId="{D10BFFF3-7D8C-4EDF-9DDD-1EE6DACBF73D}" dt="2021-01-11T10:44:11.191" v="1097" actId="478"/>
          <ac:picMkLst>
            <pc:docMk/>
            <pc:sldMk cId="1877414535" sldId="547"/>
            <ac:picMk id="5" creationId="{FA59BEA9-8AC4-483B-82AC-30EC8534565E}"/>
          </ac:picMkLst>
        </pc:picChg>
      </pc:sldChg>
      <pc:sldChg chg="modSp del mod ord">
        <pc:chgData name="Vadzim Kazak1" userId="cebc28ae-015e-4957-bc28-65a9267ad187" providerId="ADAL" clId="{D10BFFF3-7D8C-4EDF-9DDD-1EE6DACBF73D}" dt="2021-01-11T10:43:35.873" v="1092" actId="2696"/>
        <pc:sldMkLst>
          <pc:docMk/>
          <pc:sldMk cId="747965179" sldId="4152"/>
        </pc:sldMkLst>
        <pc:spChg chg="mod">
          <ac:chgData name="Vadzim Kazak1" userId="cebc28ae-015e-4957-bc28-65a9267ad187" providerId="ADAL" clId="{D10BFFF3-7D8C-4EDF-9DDD-1EE6DACBF73D}" dt="2021-01-11T10:36:38.449" v="1011" actId="20577"/>
          <ac:spMkLst>
            <pc:docMk/>
            <pc:sldMk cId="747965179" sldId="4152"/>
            <ac:spMk id="2" creationId="{AB046461-E818-48AA-B8E8-51C7BD4060A7}"/>
          </ac:spMkLst>
        </pc:spChg>
      </pc:sldChg>
      <pc:sldChg chg="del">
        <pc:chgData name="Vadzim Kazak1" userId="cebc28ae-015e-4957-bc28-65a9267ad187" providerId="ADAL" clId="{D10BFFF3-7D8C-4EDF-9DDD-1EE6DACBF73D}" dt="2021-01-06T09:29:36.594" v="625" actId="47"/>
        <pc:sldMkLst>
          <pc:docMk/>
          <pc:sldMk cId="31742843" sldId="4165"/>
        </pc:sldMkLst>
      </pc:sldChg>
      <pc:sldChg chg="del">
        <pc:chgData name="Vadzim Kazak1" userId="cebc28ae-015e-4957-bc28-65a9267ad187" providerId="ADAL" clId="{D10BFFF3-7D8C-4EDF-9DDD-1EE6DACBF73D}" dt="2021-01-06T09:29:37.441" v="626" actId="47"/>
        <pc:sldMkLst>
          <pc:docMk/>
          <pc:sldMk cId="3680522825" sldId="4172"/>
        </pc:sldMkLst>
      </pc:sldChg>
      <pc:sldChg chg="del">
        <pc:chgData name="Vadzim Kazak1" userId="cebc28ae-015e-4957-bc28-65a9267ad187" providerId="ADAL" clId="{D10BFFF3-7D8C-4EDF-9DDD-1EE6DACBF73D}" dt="2021-01-06T09:29:35.632" v="624" actId="47"/>
        <pc:sldMkLst>
          <pc:docMk/>
          <pc:sldMk cId="2147560122" sldId="4173"/>
        </pc:sldMkLst>
      </pc:sldChg>
      <pc:sldChg chg="new del">
        <pc:chgData name="Vadzim Kazak1" userId="cebc28ae-015e-4957-bc28-65a9267ad187" providerId="ADAL" clId="{D10BFFF3-7D8C-4EDF-9DDD-1EE6DACBF73D}" dt="2021-01-06T09:29:38.439" v="627" actId="47"/>
        <pc:sldMkLst>
          <pc:docMk/>
          <pc:sldMk cId="2500268252" sldId="4174"/>
        </pc:sldMkLst>
      </pc:sldChg>
      <pc:sldChg chg="addSp delSp modSp new mod ord">
        <pc:chgData name="Vadzim Kazak1" userId="cebc28ae-015e-4957-bc28-65a9267ad187" providerId="ADAL" clId="{D10BFFF3-7D8C-4EDF-9DDD-1EE6DACBF73D}" dt="2021-02-25T12:02:00.263" v="1265" actId="164"/>
        <pc:sldMkLst>
          <pc:docMk/>
          <pc:sldMk cId="39665908" sldId="4175"/>
        </pc:sldMkLst>
        <pc:spChg chg="mod">
          <ac:chgData name="Vadzim Kazak1" userId="cebc28ae-015e-4957-bc28-65a9267ad187" providerId="ADAL" clId="{D10BFFF3-7D8C-4EDF-9DDD-1EE6DACBF73D}" dt="2021-01-11T10:37:48.248" v="1032" actId="1076"/>
          <ac:spMkLst>
            <pc:docMk/>
            <pc:sldMk cId="39665908" sldId="4175"/>
            <ac:spMk id="2" creationId="{C5E918A4-9484-4A78-8632-F22FD510C6B5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4" creationId="{54A4E29E-0142-4401-9B88-C312F908A9FE}"/>
          </ac:spMkLst>
        </pc:spChg>
        <pc:spChg chg="add del mod">
          <ac:chgData name="Vadzim Kazak1" userId="cebc28ae-015e-4957-bc28-65a9267ad187" providerId="ADAL" clId="{D10BFFF3-7D8C-4EDF-9DDD-1EE6DACBF73D}" dt="2021-01-06T08:53:20.131" v="101" actId="478"/>
          <ac:spMkLst>
            <pc:docMk/>
            <pc:sldMk cId="39665908" sldId="4175"/>
            <ac:spMk id="5" creationId="{19910F6D-EEFA-4DFD-B96B-194F1EEA4D71}"/>
          </ac:spMkLst>
        </pc:spChg>
        <pc:spChg chg="add del mod">
          <ac:chgData name="Vadzim Kazak1" userId="cebc28ae-015e-4957-bc28-65a9267ad187" providerId="ADAL" clId="{D10BFFF3-7D8C-4EDF-9DDD-1EE6DACBF73D}" dt="2021-01-06T08:53:20.815" v="102" actId="478"/>
          <ac:spMkLst>
            <pc:docMk/>
            <pc:sldMk cId="39665908" sldId="4175"/>
            <ac:spMk id="6" creationId="{C356287A-23A0-40A4-B16A-1ED3FF94C1F3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" creationId="{C02B8848-AD87-4543-91A2-21AFBDA229C2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8" creationId="{186957DD-C805-46F3-ABF5-B52276091245}"/>
          </ac:spMkLst>
        </pc:spChg>
        <pc:spChg chg="add del mod">
          <ac:chgData name="Vadzim Kazak1" userId="cebc28ae-015e-4957-bc28-65a9267ad187" providerId="ADAL" clId="{D10BFFF3-7D8C-4EDF-9DDD-1EE6DACBF73D}" dt="2021-01-11T09:26:28.163" v="665" actId="478"/>
          <ac:spMkLst>
            <pc:docMk/>
            <pc:sldMk cId="39665908" sldId="4175"/>
            <ac:spMk id="9" creationId="{64A6F6B1-9DF4-469A-B057-4D1225F62E94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10" creationId="{C02FDB5D-81BA-4E1A-9555-9CC37D54EA4E}"/>
          </ac:spMkLst>
        </pc:spChg>
        <pc:spChg chg="add del mod">
          <ac:chgData name="Vadzim Kazak1" userId="cebc28ae-015e-4957-bc28-65a9267ad187" providerId="ADAL" clId="{D10BFFF3-7D8C-4EDF-9DDD-1EE6DACBF73D}" dt="2021-01-11T09:26:29.326" v="666" actId="478"/>
          <ac:spMkLst>
            <pc:docMk/>
            <pc:sldMk cId="39665908" sldId="4175"/>
            <ac:spMk id="11" creationId="{8D09F091-4992-45D7-B37F-997E5643BE86}"/>
          </ac:spMkLst>
        </pc:spChg>
        <pc:spChg chg="add del mod">
          <ac:chgData name="Vadzim Kazak1" userId="cebc28ae-015e-4957-bc28-65a9267ad187" providerId="ADAL" clId="{D10BFFF3-7D8C-4EDF-9DDD-1EE6DACBF73D}" dt="2021-01-11T10:31:39" v="857" actId="478"/>
          <ac:spMkLst>
            <pc:docMk/>
            <pc:sldMk cId="39665908" sldId="4175"/>
            <ac:spMk id="12" creationId="{0B7F9E54-8A42-4E6A-BF13-C7C18292E780}"/>
          </ac:spMkLst>
        </pc:spChg>
        <pc:spChg chg="add mod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13" creationId="{E7E4F071-CB1B-4588-959C-9EF9356FE6BB}"/>
          </ac:spMkLst>
        </pc:spChg>
        <pc:spChg chg="add del mod">
          <ac:chgData name="Vadzim Kazak1" userId="cebc28ae-015e-4957-bc28-65a9267ad187" providerId="ADAL" clId="{D10BFFF3-7D8C-4EDF-9DDD-1EE6DACBF73D}" dt="2021-01-06T09:09:29.352" v="329" actId="478"/>
          <ac:spMkLst>
            <pc:docMk/>
            <pc:sldMk cId="39665908" sldId="4175"/>
            <ac:spMk id="14" creationId="{B34D8B89-F60D-4691-BC96-9EBD54FBD1EC}"/>
          </ac:spMkLst>
        </pc:spChg>
        <pc:spChg chg="add del mod">
          <ac:chgData name="Vadzim Kazak1" userId="cebc28ae-015e-4957-bc28-65a9267ad187" providerId="ADAL" clId="{D10BFFF3-7D8C-4EDF-9DDD-1EE6DACBF73D}" dt="2021-01-11T09:26:35.902" v="669" actId="478"/>
          <ac:spMkLst>
            <pc:docMk/>
            <pc:sldMk cId="39665908" sldId="4175"/>
            <ac:spMk id="15" creationId="{35087AFD-EAD8-44F0-A1CD-B8AF06CD61E6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16" creationId="{0C161A73-F11F-4B11-A41C-5294E1D7575E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21" creationId="{1FE4E7E6-D3AC-4A95-B5B0-F3A5CFC794E9}"/>
          </ac:spMkLst>
        </pc:spChg>
        <pc:spChg chg="add del mod">
          <ac:chgData name="Vadzim Kazak1" userId="cebc28ae-015e-4957-bc28-65a9267ad187" providerId="ADAL" clId="{D10BFFF3-7D8C-4EDF-9DDD-1EE6DACBF73D}" dt="2021-01-06T09:09:31.295" v="330" actId="478"/>
          <ac:spMkLst>
            <pc:docMk/>
            <pc:sldMk cId="39665908" sldId="4175"/>
            <ac:spMk id="22" creationId="{D4313906-225B-42B5-996F-55AB2FCF2A23}"/>
          </ac:spMkLst>
        </pc:spChg>
        <pc:spChg chg="add del mod">
          <ac:chgData name="Vadzim Kazak1" userId="cebc28ae-015e-4957-bc28-65a9267ad187" providerId="ADAL" clId="{D10BFFF3-7D8C-4EDF-9DDD-1EE6DACBF73D}" dt="2021-01-06T09:10:41.160" v="367" actId="478"/>
          <ac:spMkLst>
            <pc:docMk/>
            <pc:sldMk cId="39665908" sldId="4175"/>
            <ac:spMk id="23" creationId="{DE2DE234-E4EB-4D64-A227-031D853A9165}"/>
          </ac:spMkLst>
        </pc:spChg>
        <pc:spChg chg="add del mod">
          <ac:chgData name="Vadzim Kazak1" userId="cebc28ae-015e-4957-bc28-65a9267ad187" providerId="ADAL" clId="{D10BFFF3-7D8C-4EDF-9DDD-1EE6DACBF73D}" dt="2021-01-06T09:10:43.640" v="368" actId="478"/>
          <ac:spMkLst>
            <pc:docMk/>
            <pc:sldMk cId="39665908" sldId="4175"/>
            <ac:spMk id="24" creationId="{805E7F62-DBC9-4A70-938A-265F308EB16D}"/>
          </ac:spMkLst>
        </pc:spChg>
        <pc:spChg chg="add del mod">
          <ac:chgData name="Vadzim Kazak1" userId="cebc28ae-015e-4957-bc28-65a9267ad187" providerId="ADAL" clId="{D10BFFF3-7D8C-4EDF-9DDD-1EE6DACBF73D}" dt="2021-01-06T09:10:31.319" v="363" actId="571"/>
          <ac:spMkLst>
            <pc:docMk/>
            <pc:sldMk cId="39665908" sldId="4175"/>
            <ac:spMk id="25" creationId="{961819EC-1E7E-4BC5-B789-5D2A83FFF179}"/>
          </ac:spMkLst>
        </pc:spChg>
        <pc:spChg chg="add del mod">
          <ac:chgData name="Vadzim Kazak1" userId="cebc28ae-015e-4957-bc28-65a9267ad187" providerId="ADAL" clId="{D10BFFF3-7D8C-4EDF-9DDD-1EE6DACBF73D}" dt="2021-01-06T09:10:31.319" v="363" actId="571"/>
          <ac:spMkLst>
            <pc:docMk/>
            <pc:sldMk cId="39665908" sldId="4175"/>
            <ac:spMk id="26" creationId="{5F7B983A-B4FE-405B-9174-426BAAB60A44}"/>
          </ac:spMkLst>
        </pc:spChg>
        <pc:spChg chg="add mod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28" creationId="{024C893B-265C-465B-AE4F-6EC752E39AA2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39" creationId="{345D71D0-E042-4ABB-9E3D-51757C74FA51}"/>
          </ac:spMkLst>
        </pc:spChg>
        <pc:spChg chg="add del mod">
          <ac:chgData name="Vadzim Kazak1" userId="cebc28ae-015e-4957-bc28-65a9267ad187" providerId="ADAL" clId="{D10BFFF3-7D8C-4EDF-9DDD-1EE6DACBF73D}" dt="2021-01-11T09:33:04.747" v="756" actId="478"/>
          <ac:spMkLst>
            <pc:docMk/>
            <pc:sldMk cId="39665908" sldId="4175"/>
            <ac:spMk id="40" creationId="{F13842A4-71F8-47CD-9249-9088A222DA09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41" creationId="{978A5A98-1EC7-471D-8420-F022C3538AAD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42" creationId="{08C4F83C-4A30-4B57-898A-B2D8E6CE3DB8}"/>
          </ac:spMkLst>
        </pc:spChg>
        <pc:spChg chg="add mod">
          <ac:chgData name="Vadzim Kazak1" userId="cebc28ae-015e-4957-bc28-65a9267ad187" providerId="ADAL" clId="{D10BFFF3-7D8C-4EDF-9DDD-1EE6DACBF73D}" dt="2021-01-11T10:28:49.043" v="822" actId="571"/>
          <ac:spMkLst>
            <pc:docMk/>
            <pc:sldMk cId="39665908" sldId="4175"/>
            <ac:spMk id="49" creationId="{7FBC81E2-323B-453C-8F25-F77EA6235BBA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50" creationId="{32593EAB-557C-4114-A67F-EB5C9D3DB301}"/>
          </ac:spMkLst>
        </pc:spChg>
        <pc:spChg chg="add del mod">
          <ac:chgData name="Vadzim Kazak1" userId="cebc28ae-015e-4957-bc28-65a9267ad187" providerId="ADAL" clId="{D10BFFF3-7D8C-4EDF-9DDD-1EE6DACBF73D}" dt="2021-01-11T10:31:14.380" v="853" actId="478"/>
          <ac:spMkLst>
            <pc:docMk/>
            <pc:sldMk cId="39665908" sldId="4175"/>
            <ac:spMk id="52" creationId="{D18EA1EE-E241-48E2-88C2-E61C80162077}"/>
          </ac:spMkLst>
        </pc:spChg>
        <pc:spChg chg="add del mod">
          <ac:chgData name="Vadzim Kazak1" userId="cebc28ae-015e-4957-bc28-65a9267ad187" providerId="ADAL" clId="{D10BFFF3-7D8C-4EDF-9DDD-1EE6DACBF73D}" dt="2021-01-11T10:31:14.380" v="853" actId="478"/>
          <ac:spMkLst>
            <pc:docMk/>
            <pc:sldMk cId="39665908" sldId="4175"/>
            <ac:spMk id="53" creationId="{8DB5D0CF-81EA-43A3-AF8A-4AA1E6B1772B}"/>
          </ac:spMkLst>
        </pc:spChg>
        <pc:spChg chg="add del mod">
          <ac:chgData name="Vadzim Kazak1" userId="cebc28ae-015e-4957-bc28-65a9267ad187" providerId="ADAL" clId="{D10BFFF3-7D8C-4EDF-9DDD-1EE6DACBF73D}" dt="2021-01-11T10:31:14.380" v="853" actId="478"/>
          <ac:spMkLst>
            <pc:docMk/>
            <pc:sldMk cId="39665908" sldId="4175"/>
            <ac:spMk id="54" creationId="{6F585898-1CC3-4A82-95A6-3A4A74FEDB3B}"/>
          </ac:spMkLst>
        </pc:spChg>
        <pc:spChg chg="add del mod">
          <ac:chgData name="Vadzim Kazak1" userId="cebc28ae-015e-4957-bc28-65a9267ad187" providerId="ADAL" clId="{D10BFFF3-7D8C-4EDF-9DDD-1EE6DACBF73D}" dt="2021-01-11T09:31:38.373" v="738" actId="478"/>
          <ac:spMkLst>
            <pc:docMk/>
            <pc:sldMk cId="39665908" sldId="4175"/>
            <ac:spMk id="55" creationId="{6A6D3069-E834-4CA3-B819-ADB20CF96204}"/>
          </ac:spMkLst>
        </pc:spChg>
        <pc:spChg chg="add del mod">
          <ac:chgData name="Vadzim Kazak1" userId="cebc28ae-015e-4957-bc28-65a9267ad187" providerId="ADAL" clId="{D10BFFF3-7D8C-4EDF-9DDD-1EE6DACBF73D}" dt="2021-01-11T10:31:14.380" v="853" actId="478"/>
          <ac:spMkLst>
            <pc:docMk/>
            <pc:sldMk cId="39665908" sldId="4175"/>
            <ac:spMk id="56" creationId="{B08FFC71-C087-467A-8BC7-190E5637E903}"/>
          </ac:spMkLst>
        </pc:spChg>
        <pc:spChg chg="add del mod">
          <ac:chgData name="Vadzim Kazak1" userId="cebc28ae-015e-4957-bc28-65a9267ad187" providerId="ADAL" clId="{D10BFFF3-7D8C-4EDF-9DDD-1EE6DACBF73D}" dt="2021-01-11T09:31:39.189" v="739" actId="478"/>
          <ac:spMkLst>
            <pc:docMk/>
            <pc:sldMk cId="39665908" sldId="4175"/>
            <ac:spMk id="57" creationId="{B31AC8B3-F8F5-409A-BCAA-94D444DB323A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58" creationId="{C83D070E-85CA-4750-ABAE-997EB5A8C199}"/>
          </ac:spMkLst>
        </pc:spChg>
        <pc:spChg chg="add del mod">
          <ac:chgData name="Vadzim Kazak1" userId="cebc28ae-015e-4957-bc28-65a9267ad187" providerId="ADAL" clId="{D10BFFF3-7D8C-4EDF-9DDD-1EE6DACBF73D}" dt="2021-01-06T09:13:23.022" v="405" actId="478"/>
          <ac:spMkLst>
            <pc:docMk/>
            <pc:sldMk cId="39665908" sldId="4175"/>
            <ac:spMk id="58" creationId="{E6C1E997-FE27-403D-87B8-C60A2DE03462}"/>
          </ac:spMkLst>
        </pc:spChg>
        <pc:spChg chg="add del mod">
          <ac:chgData name="Vadzim Kazak1" userId="cebc28ae-015e-4957-bc28-65a9267ad187" providerId="ADAL" clId="{D10BFFF3-7D8C-4EDF-9DDD-1EE6DACBF73D}" dt="2021-01-11T09:31:36.686" v="736" actId="478"/>
          <ac:spMkLst>
            <pc:docMk/>
            <pc:sldMk cId="39665908" sldId="4175"/>
            <ac:spMk id="59" creationId="{ECB71E5D-4550-46A5-98F2-50E6308CCF8B}"/>
          </ac:spMkLst>
        </pc:spChg>
        <pc:spChg chg="add del mod">
          <ac:chgData name="Vadzim Kazak1" userId="cebc28ae-015e-4957-bc28-65a9267ad187" providerId="ADAL" clId="{D10BFFF3-7D8C-4EDF-9DDD-1EE6DACBF73D}" dt="2021-01-11T10:31:14.380" v="853" actId="478"/>
          <ac:spMkLst>
            <pc:docMk/>
            <pc:sldMk cId="39665908" sldId="4175"/>
            <ac:spMk id="60" creationId="{1F6E79C2-6FC9-4296-A2D0-4784DB74907D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1" creationId="{7DD85504-0B9E-4A48-9F70-25436AA8BF30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2" creationId="{C570AC12-9FF9-4269-AC91-4FD9D15CD427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3" creationId="{B8030879-1F38-4141-8436-FA9B88AA2FE5}"/>
          </ac:spMkLst>
        </pc:spChg>
        <pc:spChg chg="add del mod">
          <ac:chgData name="Vadzim Kazak1" userId="cebc28ae-015e-4957-bc28-65a9267ad187" providerId="ADAL" clId="{D10BFFF3-7D8C-4EDF-9DDD-1EE6DACBF73D}" dt="2021-01-11T10:31:30.121" v="855" actId="478"/>
          <ac:spMkLst>
            <pc:docMk/>
            <pc:sldMk cId="39665908" sldId="4175"/>
            <ac:spMk id="64" creationId="{022DF181-7294-4155-95B4-C10B7624B104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5" creationId="{9AFF4F9D-B62A-4968-8826-F826510BF08C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6" creationId="{589F59C2-69DC-4B93-B679-671A336B5522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7" creationId="{E5F65E1C-EF59-456E-AF31-189534890FC1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69" creationId="{F6DAE722-31D9-401C-B206-27E9EE561282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0" creationId="{BD02176B-BE8D-418F-A2D8-A7BBC29E4011}"/>
          </ac:spMkLst>
        </pc:spChg>
        <pc:spChg chg="add mod">
          <ac:chgData name="Vadzim Kazak1" userId="cebc28ae-015e-4957-bc28-65a9267ad187" providerId="ADAL" clId="{D10BFFF3-7D8C-4EDF-9DDD-1EE6DACBF73D}" dt="2021-01-06T09:16:30.953" v="491" actId="571"/>
          <ac:spMkLst>
            <pc:docMk/>
            <pc:sldMk cId="39665908" sldId="4175"/>
            <ac:spMk id="70" creationId="{EE9EBB8C-374C-46B8-A83E-B33EF110D0FB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1" creationId="{25961C17-E394-4D75-B9B6-D4DF8B6B0B0B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2" creationId="{3F9895B7-75CF-4C3A-84D3-DE2F0C8C40F4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3" creationId="{EDE6D83F-D194-4BDD-988E-FBB094F9D8A3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4" creationId="{BD248853-4BDB-4131-B624-F899593DB616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5" creationId="{17F91C45-1909-49B6-9A8C-8E3043383BE4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79" creationId="{768CF9E9-BFF6-405B-BAA6-7D8327F30E0F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80" creationId="{DDEFB377-CED7-47F5-8334-BD427B7C48A9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81" creationId="{3FDE39B3-9C37-440F-A39B-5A0567E5AD0D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82" creationId="{8F0AAA66-DFFB-4CE0-90CB-9873BD442500}"/>
          </ac:spMkLst>
        </pc:spChg>
        <pc:spChg chg="add mod topLvl">
          <ac:chgData name="Vadzim Kazak1" userId="cebc28ae-015e-4957-bc28-65a9267ad187" providerId="ADAL" clId="{D10BFFF3-7D8C-4EDF-9DDD-1EE6DACBF73D}" dt="2021-02-25T12:02:00.263" v="1265" actId="164"/>
          <ac:spMkLst>
            <pc:docMk/>
            <pc:sldMk cId="39665908" sldId="4175"/>
            <ac:spMk id="83" creationId="{8CD04C17-1A64-4EBE-97C2-5EA114CFFEB0}"/>
          </ac:spMkLst>
        </pc:spChg>
        <pc:grpChg chg="add mod">
          <ac:chgData name="Vadzim Kazak1" userId="cebc28ae-015e-4957-bc28-65a9267ad187" providerId="ADAL" clId="{D10BFFF3-7D8C-4EDF-9DDD-1EE6DACBF73D}" dt="2021-02-25T12:02:00.263" v="1265" actId="164"/>
          <ac:grpSpMkLst>
            <pc:docMk/>
            <pc:sldMk cId="39665908" sldId="4175"/>
            <ac:grpSpMk id="5" creationId="{87F49CA3-DC6D-4727-B8CB-0293E9862D94}"/>
          </ac:grpSpMkLst>
        </pc:grpChg>
        <pc:grpChg chg="add del mod">
          <ac:chgData name="Vadzim Kazak1" userId="cebc28ae-015e-4957-bc28-65a9267ad187" providerId="ADAL" clId="{D10BFFF3-7D8C-4EDF-9DDD-1EE6DACBF73D}" dt="2021-01-11T14:06:48.530" v="1101" actId="165"/>
          <ac:grpSpMkLst>
            <pc:docMk/>
            <pc:sldMk cId="39665908" sldId="4175"/>
            <ac:grpSpMk id="48" creationId="{5EDFA570-0268-4DA8-B7F1-FBC0CE9DBB9B}"/>
          </ac:grpSpMkLst>
        </pc:grpChg>
        <pc:grpChg chg="add del mod">
          <ac:chgData name="Vadzim Kazak1" userId="cebc28ae-015e-4957-bc28-65a9267ad187" providerId="ADAL" clId="{D10BFFF3-7D8C-4EDF-9DDD-1EE6DACBF73D}" dt="2021-01-11T10:38:56.317" v="1038" actId="165"/>
          <ac:grpSpMkLst>
            <pc:docMk/>
            <pc:sldMk cId="39665908" sldId="4175"/>
            <ac:grpSpMk id="76" creationId="{74C988FF-5BBF-4FF0-AEB4-D5573EDE2008}"/>
          </ac:grpSpMkLst>
        </pc:grpChg>
        <pc:grpChg chg="add del mod">
          <ac:chgData name="Vadzim Kazak1" userId="cebc28ae-015e-4957-bc28-65a9267ad187" providerId="ADAL" clId="{D10BFFF3-7D8C-4EDF-9DDD-1EE6DACBF73D}" dt="2021-01-11T14:08:40.148" v="1118" actId="165"/>
          <ac:grpSpMkLst>
            <pc:docMk/>
            <pc:sldMk cId="39665908" sldId="4175"/>
            <ac:grpSpMk id="93" creationId="{9F2F89C0-19AC-4A4D-9C81-32B690270F95}"/>
          </ac:grpSpMkLst>
        </pc:grpChg>
        <pc:grpChg chg="add del mod">
          <ac:chgData name="Vadzim Kazak1" userId="cebc28ae-015e-4957-bc28-65a9267ad187" providerId="ADAL" clId="{D10BFFF3-7D8C-4EDF-9DDD-1EE6DACBF73D}" dt="2021-01-11T14:09:41.013" v="1129" actId="165"/>
          <ac:grpSpMkLst>
            <pc:docMk/>
            <pc:sldMk cId="39665908" sldId="4175"/>
            <ac:grpSpMk id="94" creationId="{A7625628-4DB2-42F2-8D15-5459A428DE3F}"/>
          </ac:grpSpMkLst>
        </pc:grpChg>
        <pc:cxnChg chg="add del mod">
          <ac:chgData name="Vadzim Kazak1" userId="cebc28ae-015e-4957-bc28-65a9267ad187" providerId="ADAL" clId="{D10BFFF3-7D8C-4EDF-9DDD-1EE6DACBF73D}" dt="2021-01-11T10:23:15.033" v="807" actId="478"/>
          <ac:cxnSpMkLst>
            <pc:docMk/>
            <pc:sldMk cId="39665908" sldId="4175"/>
            <ac:cxnSpMk id="17" creationId="{43696F12-492E-478E-B8B5-4BB1E734D07D}"/>
          </ac:cxnSpMkLst>
        </pc:cxnChg>
        <pc:cxnChg chg="add del mod">
          <ac:chgData name="Vadzim Kazak1" userId="cebc28ae-015e-4957-bc28-65a9267ad187" providerId="ADAL" clId="{D10BFFF3-7D8C-4EDF-9DDD-1EE6DACBF73D}" dt="2021-01-06T09:11:32.696" v="387" actId="478"/>
          <ac:cxnSpMkLst>
            <pc:docMk/>
            <pc:sldMk cId="39665908" sldId="4175"/>
            <ac:cxnSpMk id="18" creationId="{9B5411CA-5AB3-4BB5-BA78-9FC4B3448734}"/>
          </ac:cxnSpMkLst>
        </pc:cxnChg>
        <pc:cxnChg chg="add del mod">
          <ac:chgData name="Vadzim Kazak1" userId="cebc28ae-015e-4957-bc28-65a9267ad187" providerId="ADAL" clId="{D10BFFF3-7D8C-4EDF-9DDD-1EE6DACBF73D}" dt="2021-01-06T09:11:48.199" v="391" actId="478"/>
          <ac:cxnSpMkLst>
            <pc:docMk/>
            <pc:sldMk cId="39665908" sldId="4175"/>
            <ac:cxnSpMk id="30" creationId="{8BB6E66D-77EC-4C26-9762-59EB7F2E3D0F}"/>
          </ac:cxnSpMkLst>
        </pc:cxnChg>
        <pc:cxnChg chg="add del mod topLvl">
          <ac:chgData name="Vadzim Kazak1" userId="cebc28ae-015e-4957-bc28-65a9267ad187" providerId="ADAL" clId="{D10BFFF3-7D8C-4EDF-9DDD-1EE6DACBF73D}" dt="2021-01-11T14:07:38.335" v="1108" actId="478"/>
          <ac:cxnSpMkLst>
            <pc:docMk/>
            <pc:sldMk cId="39665908" sldId="4175"/>
            <ac:cxnSpMk id="38" creationId="{C9B8A201-B409-4715-AEFB-96A6D8FACD4B}"/>
          </ac:cxnSpMkLst>
        </pc:cxnChg>
        <pc:cxnChg chg="add del mod topLvl">
          <ac:chgData name="Vadzim Kazak1" userId="cebc28ae-015e-4957-bc28-65a9267ad187" providerId="ADAL" clId="{D10BFFF3-7D8C-4EDF-9DDD-1EE6DACBF73D}" dt="2021-01-11T14:08:13.804" v="1115" actId="478"/>
          <ac:cxnSpMkLst>
            <pc:docMk/>
            <pc:sldMk cId="39665908" sldId="4175"/>
            <ac:cxnSpMk id="45" creationId="{F74C86C3-6191-433B-851D-05E11A2940A4}"/>
          </ac:cxnSpMkLst>
        </pc:cxnChg>
        <pc:cxnChg chg="add del mod">
          <ac:chgData name="Vadzim Kazak1" userId="cebc28ae-015e-4957-bc28-65a9267ad187" providerId="ADAL" clId="{D10BFFF3-7D8C-4EDF-9DDD-1EE6DACBF73D}" dt="2021-01-11T10:23:12.037" v="806" actId="478"/>
          <ac:cxnSpMkLst>
            <pc:docMk/>
            <pc:sldMk cId="39665908" sldId="4175"/>
            <ac:cxnSpMk id="46" creationId="{1F7F903F-F9DD-4543-9172-F385416862F4}"/>
          </ac:cxnSpMkLst>
        </pc:cxnChg>
        <pc:cxnChg chg="add del mod">
          <ac:chgData name="Vadzim Kazak1" userId="cebc28ae-015e-4957-bc28-65a9267ad187" providerId="ADAL" clId="{D10BFFF3-7D8C-4EDF-9DDD-1EE6DACBF73D}" dt="2021-01-11T14:07:39.252" v="1109" actId="478"/>
          <ac:cxnSpMkLst>
            <pc:docMk/>
            <pc:sldMk cId="39665908" sldId="4175"/>
            <ac:cxnSpMk id="51" creationId="{55AE7DFA-83BE-4591-95E4-25B35F568FCB}"/>
          </ac:cxnSpMkLst>
        </pc:cxnChg>
        <pc:cxnChg chg="add del mod">
          <ac:chgData name="Vadzim Kazak1" userId="cebc28ae-015e-4957-bc28-65a9267ad187" providerId="ADAL" clId="{D10BFFF3-7D8C-4EDF-9DDD-1EE6DACBF73D}" dt="2021-01-06T09:13:22.262" v="404" actId="478"/>
          <ac:cxnSpMkLst>
            <pc:docMk/>
            <pc:sldMk cId="39665908" sldId="4175"/>
            <ac:cxnSpMk id="61" creationId="{3518FB6B-AC2D-498A-AA9D-5F9DBB6B7493}"/>
          </ac:cxnSpMkLst>
        </pc:cxnChg>
        <pc:cxnChg chg="add del mod">
          <ac:chgData name="Vadzim Kazak1" userId="cebc28ae-015e-4957-bc28-65a9267ad187" providerId="ADAL" clId="{D10BFFF3-7D8C-4EDF-9DDD-1EE6DACBF73D}" dt="2021-01-11T14:07:40.436" v="1110" actId="478"/>
          <ac:cxnSpMkLst>
            <pc:docMk/>
            <pc:sldMk cId="39665908" sldId="4175"/>
            <ac:cxnSpMk id="68" creationId="{A575E3D5-97C2-4CC0-B25F-BCBED9F4D66E}"/>
          </ac:cxnSpMkLst>
        </pc:cxnChg>
        <pc:cxnChg chg="add del mod topLvl">
          <ac:chgData name="Vadzim Kazak1" userId="cebc28ae-015e-4957-bc28-65a9267ad187" providerId="ADAL" clId="{D10BFFF3-7D8C-4EDF-9DDD-1EE6DACBF73D}" dt="2021-01-11T10:38:58.424" v="1039" actId="478"/>
          <ac:cxnSpMkLst>
            <pc:docMk/>
            <pc:sldMk cId="39665908" sldId="4175"/>
            <ac:cxnSpMk id="77" creationId="{2AF497BA-813D-475E-ADD0-318C012F5B03}"/>
          </ac:cxnSpMkLst>
        </pc:cxnChg>
        <pc:cxnChg chg="add del">
          <ac:chgData name="Vadzim Kazak1" userId="cebc28ae-015e-4957-bc28-65a9267ad187" providerId="ADAL" clId="{D10BFFF3-7D8C-4EDF-9DDD-1EE6DACBF73D}" dt="2021-01-11T14:09:03.621" v="1123" actId="478"/>
          <ac:cxnSpMkLst>
            <pc:docMk/>
            <pc:sldMk cId="39665908" sldId="4175"/>
            <ac:cxnSpMk id="96" creationId="{EDDA8BEF-D2DA-431F-A3A7-803ACD5239A3}"/>
          </ac:cxnSpMkLst>
        </pc:cxnChg>
        <pc:cxnChg chg="add mod">
          <ac:chgData name="Vadzim Kazak1" userId="cebc28ae-015e-4957-bc28-65a9267ad187" providerId="ADAL" clId="{D10BFFF3-7D8C-4EDF-9DDD-1EE6DACBF73D}" dt="2021-02-25T12:02:00.263" v="1265" actId="164"/>
          <ac:cxnSpMkLst>
            <pc:docMk/>
            <pc:sldMk cId="39665908" sldId="4175"/>
            <ac:cxnSpMk id="98" creationId="{43C58CBD-68A8-45DD-AA32-2FA155683AC2}"/>
          </ac:cxnSpMkLst>
        </pc:cxnChg>
        <pc:cxnChg chg="add mod">
          <ac:chgData name="Vadzim Kazak1" userId="cebc28ae-015e-4957-bc28-65a9267ad187" providerId="ADAL" clId="{D10BFFF3-7D8C-4EDF-9DDD-1EE6DACBF73D}" dt="2021-02-25T12:02:00.263" v="1265" actId="164"/>
          <ac:cxnSpMkLst>
            <pc:docMk/>
            <pc:sldMk cId="39665908" sldId="4175"/>
            <ac:cxnSpMk id="100" creationId="{A5326E5B-459F-4A7A-865E-252F818D75C4}"/>
          </ac:cxnSpMkLst>
        </pc:cxnChg>
        <pc:cxnChg chg="add mod">
          <ac:chgData name="Vadzim Kazak1" userId="cebc28ae-015e-4957-bc28-65a9267ad187" providerId="ADAL" clId="{D10BFFF3-7D8C-4EDF-9DDD-1EE6DACBF73D}" dt="2021-02-25T12:02:00.263" v="1265" actId="164"/>
          <ac:cxnSpMkLst>
            <pc:docMk/>
            <pc:sldMk cId="39665908" sldId="4175"/>
            <ac:cxnSpMk id="102" creationId="{8BED2E75-558D-4C20-BAE2-B50478A1BB43}"/>
          </ac:cxnSpMkLst>
        </pc:cxnChg>
      </pc:sldChg>
      <pc:sldChg chg="addSp delSp modSp new mod ord">
        <pc:chgData name="Vadzim Kazak1" userId="cebc28ae-015e-4957-bc28-65a9267ad187" providerId="ADAL" clId="{D10BFFF3-7D8C-4EDF-9DDD-1EE6DACBF73D}" dt="2021-01-11T09:29:56.567" v="712" actId="6549"/>
        <pc:sldMkLst>
          <pc:docMk/>
          <pc:sldMk cId="1030745926" sldId="4176"/>
        </pc:sldMkLst>
        <pc:spChg chg="mod">
          <ac:chgData name="Vadzim Kazak1" userId="cebc28ae-015e-4957-bc28-65a9267ad187" providerId="ADAL" clId="{D10BFFF3-7D8C-4EDF-9DDD-1EE6DACBF73D}" dt="2021-01-11T09:29:56.567" v="712" actId="6549"/>
          <ac:spMkLst>
            <pc:docMk/>
            <pc:sldMk cId="1030745926" sldId="4176"/>
            <ac:spMk id="2" creationId="{C5FA0D83-AA9C-4B26-B7A2-2E3CB7EF2C18}"/>
          </ac:spMkLst>
        </pc:spChg>
        <pc:spChg chg="add del mod">
          <ac:chgData name="Vadzim Kazak1" userId="cebc28ae-015e-4957-bc28-65a9267ad187" providerId="ADAL" clId="{D10BFFF3-7D8C-4EDF-9DDD-1EE6DACBF73D}" dt="2021-01-11T09:28:13.342" v="677"/>
          <ac:spMkLst>
            <pc:docMk/>
            <pc:sldMk cId="1030745926" sldId="4176"/>
            <ac:spMk id="4" creationId="{E4EE5B93-4984-4ECA-9554-35BDF580F8EB}"/>
          </ac:spMkLst>
        </pc:spChg>
        <pc:spChg chg="add del">
          <ac:chgData name="Vadzim Kazak1" userId="cebc28ae-015e-4957-bc28-65a9267ad187" providerId="ADAL" clId="{D10BFFF3-7D8C-4EDF-9DDD-1EE6DACBF73D}" dt="2021-01-11T09:28:35.911" v="679"/>
          <ac:spMkLst>
            <pc:docMk/>
            <pc:sldMk cId="1030745926" sldId="4176"/>
            <ac:spMk id="5" creationId="{F73250E5-2858-450E-A078-D01FA5BD4D04}"/>
          </ac:spMkLst>
        </pc:spChg>
        <pc:picChg chg="add mod">
          <ac:chgData name="Vadzim Kazak1" userId="cebc28ae-015e-4957-bc28-65a9267ad187" providerId="ADAL" clId="{D10BFFF3-7D8C-4EDF-9DDD-1EE6DACBF73D}" dt="2021-01-11T09:29:07.925" v="686" actId="1076"/>
          <ac:picMkLst>
            <pc:docMk/>
            <pc:sldMk cId="1030745926" sldId="4176"/>
            <ac:picMk id="7" creationId="{7D2F03FC-5A4C-4471-BF50-5B4460EF34BB}"/>
          </ac:picMkLst>
        </pc:picChg>
      </pc:sldChg>
      <pc:sldChg chg="modSp new del mod">
        <pc:chgData name="Vadzim Kazak1" userId="cebc28ae-015e-4957-bc28-65a9267ad187" providerId="ADAL" clId="{D10BFFF3-7D8C-4EDF-9DDD-1EE6DACBF73D}" dt="2021-01-11T10:42:32.656" v="1064" actId="47"/>
        <pc:sldMkLst>
          <pc:docMk/>
          <pc:sldMk cId="3388392973" sldId="4177"/>
        </pc:sldMkLst>
        <pc:spChg chg="mod">
          <ac:chgData name="Vadzim Kazak1" userId="cebc28ae-015e-4957-bc28-65a9267ad187" providerId="ADAL" clId="{D10BFFF3-7D8C-4EDF-9DDD-1EE6DACBF73D}" dt="2021-01-11T10:41:07.189" v="1047" actId="20577"/>
          <ac:spMkLst>
            <pc:docMk/>
            <pc:sldMk cId="3388392973" sldId="4177"/>
            <ac:spMk id="2" creationId="{1D3AF4B7-84C3-4FB0-85F0-0F1C5A1473A1}"/>
          </ac:spMkLst>
        </pc:spChg>
      </pc:sldChg>
      <pc:sldChg chg="modSp add mod ord">
        <pc:chgData name="Vadzim Kazak1" userId="cebc28ae-015e-4957-bc28-65a9267ad187" providerId="ADAL" clId="{D10BFFF3-7D8C-4EDF-9DDD-1EE6DACBF73D}" dt="2021-01-11T10:42:29.301" v="1063" actId="20577"/>
        <pc:sldMkLst>
          <pc:docMk/>
          <pc:sldMk cId="3163956646" sldId="4178"/>
        </pc:sldMkLst>
        <pc:spChg chg="mod">
          <ac:chgData name="Vadzim Kazak1" userId="cebc28ae-015e-4957-bc28-65a9267ad187" providerId="ADAL" clId="{D10BFFF3-7D8C-4EDF-9DDD-1EE6DACBF73D}" dt="2021-01-11T10:42:29.301" v="1063" actId="20577"/>
          <ac:spMkLst>
            <pc:docMk/>
            <pc:sldMk cId="3163956646" sldId="4178"/>
            <ac:spMk id="2" creationId="{AB046461-E818-48AA-B8E8-51C7BD4060A7}"/>
          </ac:spMkLst>
        </pc:spChg>
      </pc:sldChg>
      <pc:sldChg chg="add">
        <pc:chgData name="Vadzim Kazak1" userId="cebc28ae-015e-4957-bc28-65a9267ad187" providerId="ADAL" clId="{D10BFFF3-7D8C-4EDF-9DDD-1EE6DACBF73D}" dt="2021-01-11T10:42:39.720" v="1065"/>
        <pc:sldMkLst>
          <pc:docMk/>
          <pc:sldMk cId="1355261809" sldId="4179"/>
        </pc:sldMkLst>
      </pc:sldChg>
      <pc:sldChg chg="addSp delSp modSp add mod">
        <pc:chgData name="Vadzim Kazak1" userId="cebc28ae-015e-4957-bc28-65a9267ad187" providerId="ADAL" clId="{D10BFFF3-7D8C-4EDF-9DDD-1EE6DACBF73D}" dt="2021-02-04T14:21:28.170" v="1264" actId="14100"/>
        <pc:sldMkLst>
          <pc:docMk/>
          <pc:sldMk cId="2338325593" sldId="4180"/>
        </pc:sldMkLst>
        <pc:spChg chg="mod">
          <ac:chgData name="Vadzim Kazak1" userId="cebc28ae-015e-4957-bc28-65a9267ad187" providerId="ADAL" clId="{D10BFFF3-7D8C-4EDF-9DDD-1EE6DACBF73D}" dt="2021-02-02T07:26:50.563" v="1140" actId="20577"/>
          <ac:spMkLst>
            <pc:docMk/>
            <pc:sldMk cId="2338325593" sldId="4180"/>
            <ac:spMk id="2" creationId="{C5FA0D83-AA9C-4B26-B7A2-2E3CB7EF2C18}"/>
          </ac:spMkLst>
        </pc:spChg>
        <pc:spChg chg="add del">
          <ac:chgData name="Vadzim Kazak1" userId="cebc28ae-015e-4957-bc28-65a9267ad187" providerId="ADAL" clId="{D10BFFF3-7D8C-4EDF-9DDD-1EE6DACBF73D}" dt="2021-02-02T07:27:26.435" v="1142"/>
          <ac:spMkLst>
            <pc:docMk/>
            <pc:sldMk cId="2338325593" sldId="4180"/>
            <ac:spMk id="4" creationId="{FA0ED882-0927-413A-9DD6-FA52841D705B}"/>
          </ac:spMkLst>
        </pc:spChg>
        <pc:picChg chg="add del mod">
          <ac:chgData name="Vadzim Kazak1" userId="cebc28ae-015e-4957-bc28-65a9267ad187" providerId="ADAL" clId="{D10BFFF3-7D8C-4EDF-9DDD-1EE6DACBF73D}" dt="2021-02-04T14:20:18.370" v="1257" actId="478"/>
          <ac:picMkLst>
            <pc:docMk/>
            <pc:sldMk cId="2338325593" sldId="4180"/>
            <ac:picMk id="6" creationId="{1ECB813D-16BC-4C06-B0FA-D57BEBA2B459}"/>
          </ac:picMkLst>
        </pc:picChg>
        <pc:picChg chg="del mod">
          <ac:chgData name="Vadzim Kazak1" userId="cebc28ae-015e-4957-bc28-65a9267ad187" providerId="ADAL" clId="{D10BFFF3-7D8C-4EDF-9DDD-1EE6DACBF73D}" dt="2021-02-02T07:26:41.586" v="1136" actId="478"/>
          <ac:picMkLst>
            <pc:docMk/>
            <pc:sldMk cId="2338325593" sldId="4180"/>
            <ac:picMk id="7" creationId="{7D2F03FC-5A4C-4471-BF50-5B4460EF34BB}"/>
          </ac:picMkLst>
        </pc:picChg>
        <pc:picChg chg="add mod">
          <ac:chgData name="Vadzim Kazak1" userId="cebc28ae-015e-4957-bc28-65a9267ad187" providerId="ADAL" clId="{D10BFFF3-7D8C-4EDF-9DDD-1EE6DACBF73D}" dt="2021-02-04T14:21:28.170" v="1264" actId="14100"/>
          <ac:picMkLst>
            <pc:docMk/>
            <pc:sldMk cId="2338325593" sldId="4180"/>
            <ac:picMk id="9" creationId="{2CD7BEE2-6ADB-4D5B-ADF0-9878E7E043C1}"/>
          </ac:picMkLst>
        </pc:picChg>
      </pc:sldChg>
      <pc:sldChg chg="addSp delSp modSp new mod ord">
        <pc:chgData name="Vadzim Kazak1" userId="cebc28ae-015e-4957-bc28-65a9267ad187" providerId="ADAL" clId="{D10BFFF3-7D8C-4EDF-9DDD-1EE6DACBF73D}" dt="2021-02-02T14:32:25.429" v="1203" actId="1076"/>
        <pc:sldMkLst>
          <pc:docMk/>
          <pc:sldMk cId="3983707085" sldId="4181"/>
        </pc:sldMkLst>
        <pc:spChg chg="mod">
          <ac:chgData name="Vadzim Kazak1" userId="cebc28ae-015e-4957-bc28-65a9267ad187" providerId="ADAL" clId="{D10BFFF3-7D8C-4EDF-9DDD-1EE6DACBF73D}" dt="2021-02-02T13:44:51.883" v="1197" actId="20577"/>
          <ac:spMkLst>
            <pc:docMk/>
            <pc:sldMk cId="3983707085" sldId="4181"/>
            <ac:spMk id="2" creationId="{4007043A-5CB6-45D1-A0B1-49DE47DD1741}"/>
          </ac:spMkLst>
        </pc:spChg>
        <pc:picChg chg="add del mod">
          <ac:chgData name="Vadzim Kazak1" userId="cebc28ae-015e-4957-bc28-65a9267ad187" providerId="ADAL" clId="{D10BFFF3-7D8C-4EDF-9DDD-1EE6DACBF73D}" dt="2021-02-02T14:32:14.413" v="1198" actId="478"/>
          <ac:picMkLst>
            <pc:docMk/>
            <pc:sldMk cId="3983707085" sldId="4181"/>
            <ac:picMk id="5" creationId="{8E85F876-CE51-451F-B18F-FB2C191982FF}"/>
          </ac:picMkLst>
        </pc:picChg>
        <pc:picChg chg="add mod">
          <ac:chgData name="Vadzim Kazak1" userId="cebc28ae-015e-4957-bc28-65a9267ad187" providerId="ADAL" clId="{D10BFFF3-7D8C-4EDF-9DDD-1EE6DACBF73D}" dt="2021-02-02T14:32:25.429" v="1203" actId="1076"/>
          <ac:picMkLst>
            <pc:docMk/>
            <pc:sldMk cId="3983707085" sldId="4181"/>
            <ac:picMk id="7" creationId="{8601756A-07FC-46EF-A418-DEAE1A7D8664}"/>
          </ac:picMkLst>
        </pc:picChg>
      </pc:sldChg>
      <pc:sldChg chg="addSp modSp new mod">
        <pc:chgData name="Vadzim Kazak1" userId="cebc28ae-015e-4957-bc28-65a9267ad187" providerId="ADAL" clId="{D10BFFF3-7D8C-4EDF-9DDD-1EE6DACBF73D}" dt="2021-02-03T08:02:05.005" v="1256" actId="20577"/>
        <pc:sldMkLst>
          <pc:docMk/>
          <pc:sldMk cId="2342261439" sldId="4182"/>
        </pc:sldMkLst>
        <pc:spChg chg="mod">
          <ac:chgData name="Vadzim Kazak1" userId="cebc28ae-015e-4957-bc28-65a9267ad187" providerId="ADAL" clId="{D10BFFF3-7D8C-4EDF-9DDD-1EE6DACBF73D}" dt="2021-02-02T15:11:59.383" v="1217" actId="20577"/>
          <ac:spMkLst>
            <pc:docMk/>
            <pc:sldMk cId="2342261439" sldId="4182"/>
            <ac:spMk id="2" creationId="{E3DD8B0E-2244-43C0-87B3-F972CF2D507F}"/>
          </ac:spMkLst>
        </pc:spChg>
        <pc:spChg chg="add mod">
          <ac:chgData name="Vadzim Kazak1" userId="cebc28ae-015e-4957-bc28-65a9267ad187" providerId="ADAL" clId="{D10BFFF3-7D8C-4EDF-9DDD-1EE6DACBF73D}" dt="2021-02-03T08:02:05.005" v="1256" actId="20577"/>
          <ac:spMkLst>
            <pc:docMk/>
            <pc:sldMk cId="2342261439" sldId="4182"/>
            <ac:spMk id="4" creationId="{8E7953C6-EA86-4218-9461-90E37CD0DE64}"/>
          </ac:spMkLst>
        </pc:spChg>
      </pc:sldChg>
      <pc:sldMasterChg chg="modSp mod modSldLayout">
        <pc:chgData name="Vadzim Kazak1" userId="cebc28ae-015e-4957-bc28-65a9267ad187" providerId="ADAL" clId="{D10BFFF3-7D8C-4EDF-9DDD-1EE6DACBF73D}" dt="2021-01-05T12:42:44.150" v="8" actId="20577"/>
        <pc:sldMasterMkLst>
          <pc:docMk/>
          <pc:sldMasterMk cId="112496076" sldId="2147484506"/>
        </pc:sldMasterMkLst>
        <pc:spChg chg="mod">
          <ac:chgData name="Vadzim Kazak1" userId="cebc28ae-015e-4957-bc28-65a9267ad187" providerId="ADAL" clId="{D10BFFF3-7D8C-4EDF-9DDD-1EE6DACBF73D}" dt="2021-01-05T12:42:44.150" v="8" actId="20577"/>
          <ac:spMkLst>
            <pc:docMk/>
            <pc:sldMasterMk cId="112496076" sldId="2147484506"/>
            <ac:spMk id="12" creationId="{1275DCCA-8D50-4444-96D5-61FB20C63FB0}"/>
          </ac:spMkLst>
        </pc:spChg>
        <pc:sldLayoutChg chg="modSp mod">
          <pc:chgData name="Vadzim Kazak1" userId="cebc28ae-015e-4957-bc28-65a9267ad187" providerId="ADAL" clId="{D10BFFF3-7D8C-4EDF-9DDD-1EE6DACBF73D}" dt="2021-01-05T12:41:47.146" v="4" actId="20577"/>
          <pc:sldLayoutMkLst>
            <pc:docMk/>
            <pc:sldMasterMk cId="112496076" sldId="2147484506"/>
            <pc:sldLayoutMk cId="127380767" sldId="2147484531"/>
          </pc:sldLayoutMkLst>
          <pc:spChg chg="mod">
            <ac:chgData name="Vadzim Kazak1" userId="cebc28ae-015e-4957-bc28-65a9267ad187" providerId="ADAL" clId="{D10BFFF3-7D8C-4EDF-9DDD-1EE6DACBF73D}" dt="2021-01-05T12:41:47.146" v="4" actId="20577"/>
            <ac:spMkLst>
              <pc:docMk/>
              <pc:sldMasterMk cId="112496076" sldId="2147484506"/>
              <pc:sldLayoutMk cId="127380767" sldId="2147484531"/>
              <ac:spMk id="9" creationId="{0CC9CA95-B329-488E-AEDE-3B6CF62641AE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88A442-B6D3-3D48-83D4-9B955EE21997}" type="datetimeFigureOut">
              <a:rPr lang="en-US" smtClean="0"/>
              <a:t>25-Feb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111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F39AF5-87D2-ED4B-A9AB-E63916CE51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2029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F7369A-7953-417C-B148-5A52DB6D5164}" type="datetimeFigureOut">
              <a:rPr lang="en-US" smtClean="0"/>
              <a:t>25-Feb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111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9CBAEF-DB31-48A9-B7EF-055DB8A30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63128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>
              <a:latin typeface="Trebuchet M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04DB27-13E1-4DFC-9C35-25796D0C6E1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1111</a:t>
            </a:r>
          </a:p>
        </p:txBody>
      </p:sp>
    </p:spTree>
    <p:extLst>
      <p:ext uri="{BB962C8B-B14F-4D97-AF65-F5344CB8AC3E}">
        <p14:creationId xmlns:p14="http://schemas.microsoft.com/office/powerpoint/2010/main" val="4149281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>
              <a:latin typeface="Trebuchet M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04DB27-13E1-4DFC-9C35-25796D0C6E1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1111</a:t>
            </a:r>
          </a:p>
        </p:txBody>
      </p:sp>
    </p:spTree>
    <p:extLst>
      <p:ext uri="{BB962C8B-B14F-4D97-AF65-F5344CB8AC3E}">
        <p14:creationId xmlns:p14="http://schemas.microsoft.com/office/powerpoint/2010/main" val="2057641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7AA90C-EC64-4362-ACF3-20154AB8CA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DB50FA-0474-4434-A968-48DCFC070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10"/>
          <a:stretch/>
        </p:blipFill>
        <p:spPr>
          <a:xfrm>
            <a:off x="1" y="1"/>
            <a:ext cx="12192001" cy="691760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857D91D-C7B6-49CE-90BA-D62FD5257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2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lease add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3939C0-1AFC-404F-A99E-480FB7B95C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Please add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6C1CB0-16E9-4ECC-9D90-37E7FD3F80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1" y="681708"/>
            <a:ext cx="1188379" cy="421377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52CE1E-25A2-4071-AC90-56E8A3FE7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622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 dirty="0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1956154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 marL="0" indent="0" algn="ctr">
              <a:buNone/>
              <a:defRPr sz="2133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3661827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98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8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 flipV="1">
            <a:off x="4064000" y="928325"/>
            <a:ext cx="0" cy="5537131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8128000" y="928325"/>
            <a:ext cx="0" cy="5537131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3733800"/>
            <a:ext cx="12192000" cy="0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7303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091023" y="939030"/>
            <a:ext cx="6100980" cy="5541819"/>
          </a:xfrm>
          <a:prstGeom prst="rect">
            <a:avLst/>
          </a:prstGeom>
        </p:spPr>
        <p:txBody>
          <a:bodyPr vert="horz" lIns="91438" tIns="45719" rIns="91438" bIns="45719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hasCustomPrompt="1"/>
          </p:nvPr>
        </p:nvSpPr>
        <p:spPr>
          <a:xfrm>
            <a:off x="480485" y="1439864"/>
            <a:ext cx="5080779" cy="4511040"/>
          </a:xfrm>
          <a:prstGeom prst="rect">
            <a:avLst/>
          </a:prstGeom>
        </p:spPr>
        <p:txBody>
          <a:bodyPr vert="horz" lIns="68578" tIns="34290" rIns="68578" bIns="34290" rtlCol="0">
            <a:normAutofit/>
          </a:bodyPr>
          <a:lstStyle>
            <a:lvl1pPr marL="173724" marR="0" indent="-173724" algn="l" defTabSz="4571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SzTx/>
              <a:buFont typeface="Arial"/>
              <a:buChar char="•"/>
              <a:tabLst/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13" tIns="34290" rIns="68578" bIns="34290" anchor="ctr" anchorCtr="0">
            <a:normAutofit/>
          </a:bodyPr>
          <a:lstStyle>
            <a:lvl1pPr marL="0" indent="0">
              <a:buNone/>
              <a:defRPr sz="2700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71328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49112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315914" y="6411915"/>
            <a:ext cx="4265679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67">
                <a:solidFill>
                  <a:schemeClr val="bg2"/>
                </a:solidFill>
              </a:rPr>
              <a:t>© EPAM 2017.  Private &amp; Confidential</a:t>
            </a:r>
            <a:endParaRPr lang="en-GB" sz="1040" spc="-11">
              <a:solidFill>
                <a:srgbClr val="999999"/>
              </a:solidFill>
              <a:latin typeface="Trebuchet MS"/>
              <a:ea typeface="Trebuchet MS"/>
              <a:cs typeface="Trebuchet MS"/>
            </a:endParaRPr>
          </a:p>
        </p:txBody>
      </p:sp>
      <p:sp>
        <p:nvSpPr>
          <p:cNvPr id="14" name="Title 12"/>
          <p:cNvSpPr>
            <a:spLocks noGrp="1"/>
          </p:cNvSpPr>
          <p:nvPr>
            <p:ph type="title"/>
          </p:nvPr>
        </p:nvSpPr>
        <p:spPr>
          <a:xfrm>
            <a:off x="315913" y="628409"/>
            <a:ext cx="10515600" cy="353943"/>
          </a:xfrm>
        </p:spPr>
        <p:txBody>
          <a:bodyPr lIns="0" tIns="0" rIns="0" bIns="0" anchor="b">
            <a:normAutofit/>
          </a:bodyPr>
          <a:lstStyle>
            <a:lvl1pPr>
              <a:defRPr sz="2251" b="0" i="0" cap="all" baseline="0">
                <a:latin typeface="Arial Black"/>
                <a:ea typeface="Arial Black"/>
                <a:cs typeface="Arial Black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3413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3200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095748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66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1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 marL="0" indent="0" algn="ctr">
              <a:buNone/>
              <a:defRPr sz="2133"/>
            </a:lvl1pPr>
          </a:lstStyle>
          <a:p>
            <a:endParaRPr lang="en-US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3C50546-BF6F-4690-853F-D13B5675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723842"/>
            <a:ext cx="3661827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6189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>
              <a:defRPr lang="en-US" sz="2133" dirty="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49687" y="305065"/>
            <a:ext cx="3666064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861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2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>
              <a:defRPr lang="en-US" sz="2133" dirty="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49687" y="723901"/>
            <a:ext cx="3666064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558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8" y="711418"/>
            <a:ext cx="5310713" cy="410369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78B3201-D1EB-440A-A53D-D318BC0A5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715434"/>
            <a:ext cx="6096000" cy="402167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74320" tIns="45720" rIns="0" bIns="45720" rtlCol="0" anchor="ctr">
            <a:noAutofit/>
          </a:bodyPr>
          <a:lstStyle>
            <a:lvl1pPr>
              <a:defRPr lang="en-US" sz="1867" b="1" cap="all" spc="133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228594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51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al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59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rrow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7112000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EE2DB2E9-923B-4421-A06C-CF40C41A88D8}"/>
              </a:ext>
            </a:extLst>
          </p:cNvPr>
          <p:cNvSpPr/>
          <p:nvPr userDrawn="1"/>
        </p:nvSpPr>
        <p:spPr>
          <a:xfrm rot="16200000" flipH="1">
            <a:off x="3314471" y="3060475"/>
            <a:ext cx="6858000" cy="73705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1EC31C-BE50-4B70-BC3C-BF212543F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83121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rrow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FB66DDE-837D-472C-A386-A04C91164E4F}"/>
              </a:ext>
            </a:extLst>
          </p:cNvPr>
          <p:cNvSpPr/>
          <p:nvPr userDrawn="1"/>
        </p:nvSpPr>
        <p:spPr>
          <a:xfrm rot="5400000" flipH="1">
            <a:off x="2019071" y="3060475"/>
            <a:ext cx="6858000" cy="73705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1FCA7BA-785F-40B2-9929-F00681ED1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45995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ease add slide </a:t>
            </a:r>
            <a:br>
              <a:rPr lang="en-US" dirty="0"/>
            </a:br>
            <a:r>
              <a:rPr lang="en-US" dirty="0"/>
              <a:t>headlin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688915-CB37-4092-9D9E-F0F759044DDE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D63C87-B426-4C9D-8204-26C5BE0AB817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64381E6B-03B6-45D1-A274-16D1964018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29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80434DA-33E1-4DA8-A3ED-A86B2EEE5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28019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CC70D9-256D-4A27-85C0-7007304E7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AC9E3-0336-4E5B-97BB-3B9E7E0C9EC9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19CA1B-CFA9-4B0A-A2C0-7E1115579CAE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202DF6E-D609-4CF2-B225-CA4AD322C1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52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183740-7D08-4BBC-99BE-4AE1E27FA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857D91D-C7B6-49CE-90BA-D62FD5257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2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3939C0-1AFC-404F-A99E-480FB7B95C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6C1CB0-16E9-4ECC-9D90-37E7FD3F80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1" y="681708"/>
            <a:ext cx="1188379" cy="421377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52CE1E-25A2-4071-AC90-56E8A3FE7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622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F1E3DE-1E91-49E2-9813-B1897CB3A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61" t="1049" r="2"/>
          <a:stretch/>
        </p:blipFill>
        <p:spPr>
          <a:xfrm>
            <a:off x="7115486" y="2"/>
            <a:ext cx="5076516" cy="6857999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6ABCC7-43A7-4B84-B9AB-B27270A02D21}"/>
              </a:ext>
            </a:extLst>
          </p:cNvPr>
          <p:cNvSpPr txBox="1">
            <a:spLocks/>
          </p:cNvSpPr>
          <p:nvPr userDrawn="1"/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1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865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Grey_Righ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7612733" y="1"/>
            <a:ext cx="457926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7" y="305065"/>
            <a:ext cx="6651760" cy="410369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78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Grey_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0" y="1"/>
            <a:ext cx="457926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3626701" cy="820737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CE1DC0-82CD-4A04-87EB-D200935AB932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rgbClr val="474648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rgbClr val="474648"/>
              </a:solidFill>
              <a:cs typeface="Trebuchet M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706E7A8-2C1B-4349-96C6-507A8238EF06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rgbClr val="47464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3474000-7C5E-4A4E-8344-67E9E57191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2728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_Righ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5C328B-6531-473D-91B6-0E2E34FFA343}"/>
              </a:ext>
            </a:extLst>
          </p:cNvPr>
          <p:cNvSpPr/>
          <p:nvPr userDrawn="1"/>
        </p:nvSpPr>
        <p:spPr>
          <a:xfrm>
            <a:off x="7569200" y="0"/>
            <a:ext cx="46228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04801"/>
            <a:ext cx="6610347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Please add slide </a:t>
            </a:r>
            <a:br>
              <a:rPr lang="en-US" dirty="0"/>
            </a:br>
            <a:r>
              <a:rPr lang="en-US" dirty="0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136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CC70D9-256D-4A27-85C0-7007304E7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8" y="305065"/>
            <a:ext cx="4119021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AC9E3-0336-4E5B-97BB-3B9E7E0C9EC9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19CA1B-CFA9-4B0A-A2C0-7E1115579CAE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202DF6E-D609-4CF2-B225-CA4AD322C1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535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FB90727-537A-4481-B2D2-D331858419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374605" y="2797813"/>
            <a:ext cx="7442791" cy="78318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3200"/>
              </a:lnSpc>
              <a:buNone/>
              <a:defRPr sz="2133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 sz="2133">
                <a:latin typeface="+mj-lt"/>
              </a:defRPr>
            </a:lvl2pPr>
            <a:lvl3pPr marL="1219170" indent="0">
              <a:buNone/>
              <a:defRPr sz="2133">
                <a:latin typeface="+mj-lt"/>
              </a:defRPr>
            </a:lvl3pPr>
            <a:lvl4pPr marL="1828754" indent="0">
              <a:buNone/>
              <a:defRPr sz="2133">
                <a:latin typeface="+mj-lt"/>
              </a:defRPr>
            </a:lvl4pPr>
            <a:lvl5pPr marL="2438339" indent="0">
              <a:buNone/>
              <a:defRPr sz="2133">
                <a:latin typeface="+mj-lt"/>
              </a:defRPr>
            </a:lvl5pPr>
          </a:lstStyle>
          <a:p>
            <a:pPr algn="ctr">
              <a:lnSpc>
                <a:spcPts val="2400"/>
              </a:lnSpc>
            </a:pP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Please add call out or quote here</a:t>
            </a:r>
            <a:br>
              <a:rPr lang="en-US" sz="2133" baseline="0" dirty="0">
                <a:solidFill>
                  <a:schemeClr val="bg1"/>
                </a:solidFill>
                <a:latin typeface="+mj-lt"/>
              </a:rPr>
            </a:b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sit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Sed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nec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gravida,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dapib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turpi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orttitor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tincidun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nibh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Orci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vari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natoqu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enatib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et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magni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dis parturient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monte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nascetur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ridicul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mus. Nam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ege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eni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mauri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Vivam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sit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congu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nunc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Duis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osuer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rutru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ac diam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qui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justo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porta.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hasell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bibendu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vehicula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id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ornare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. Nam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commodo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ac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ur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porta. Proin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lectus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leo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, in lacinia diam </a:t>
            </a:r>
            <a:r>
              <a:rPr lang="en-US" sz="2133" baseline="0" dirty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2133" baseline="0" dirty="0">
                <a:solidFill>
                  <a:schemeClr val="bg1"/>
                </a:solidFill>
                <a:latin typeface="+mj-lt"/>
              </a:rPr>
              <a:t> convallis. </a:t>
            </a:r>
            <a:endParaRPr lang="en-US" sz="2133" b="1" spc="267" baseline="0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>
            <a:off x="2" y="-163253"/>
            <a:ext cx="2064269" cy="15832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 rot="10800000">
            <a:off x="10127731" y="4909146"/>
            <a:ext cx="2064269" cy="1583263"/>
          </a:xfrm>
          <a:prstGeom prst="rect">
            <a:avLst/>
          </a:prstGeom>
        </p:spPr>
      </p:pic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1867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7862DB-23E5-4AE2-9800-A8A56CBC7351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BB6DCA-18CD-4445-A718-F9F52665582A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19CE33-D68B-4ABE-8C86-73590A592E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12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 dirty="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1</a:t>
            </a:r>
            <a:endParaRPr lang="en-US" sz="800" kern="0" spc="20" dirty="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6C35C35-64AE-4632-B724-8339BC10B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06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LEASE ADD BREAKER SLIDE TITLE HERE</a:t>
            </a:r>
            <a:br>
              <a:rPr lang="en-US" dirty="0"/>
            </a:br>
            <a:r>
              <a:rPr lang="en-US" dirty="0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27380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2FB406-27D7-43FB-866E-777EF12EB0E7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9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E9DB65-A7F3-4BB1-8716-51DFB945743A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A9C3C3B7-5BEF-4F39-9A02-4442C3796D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37E0553-1C09-4AC9-A66A-DCD12843B5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06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331953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8C6F09-DC6A-410C-9737-A1FA179AA9C0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9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AFBEF-3A65-4954-B94A-32CDF78358DF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79A4BDC-6460-4363-9BA6-9BC8824CBA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6C35C35-64AE-4632-B724-8339BC10B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06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4167205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8C6F09-DC6A-410C-9737-A1FA179AA9C0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9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AFBEF-3A65-4954-B94A-32CDF78358DF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79A4BDC-6460-4363-9BA6-9BC8824CBA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85EFFC8-29D6-4535-B4E1-BBBB14713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06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267924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Pictur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F54CE23-9A9D-484B-A05F-E9C146E3D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06" y="2404304"/>
            <a:ext cx="7442791" cy="1626909"/>
          </a:xfrm>
          <a:solidFill>
            <a:schemeClr val="tx1">
              <a:alpha val="50196"/>
            </a:schemeClr>
          </a:solidFill>
          <a:ln w="6350">
            <a:solidFill>
              <a:schemeClr val="bg1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2934057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0FD261E-F7DA-4C55-9142-5E8444BDE5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Please add cover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D03FE8-3D79-4275-87DA-219EF786F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2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8727F2A-C901-4CDA-94BA-8EF84E8172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360C63-B08B-4AF1-AD2F-54076C4D2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1" y="681708"/>
            <a:ext cx="1188379" cy="421377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44F3E7F-7D91-4EE5-8DA3-E639949971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22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2047256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6868AD-C0E8-4209-9479-49BF217318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217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3200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34382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resale_Separator_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DB2B9C3-13C4-48CB-AB0F-BDD3F22E94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7006" y="2854457"/>
            <a:ext cx="5818003" cy="1149097"/>
          </a:xfrm>
          <a:prstGeom prst="rect">
            <a:avLst/>
          </a:prstGeom>
          <a:ln w="6350">
            <a:solidFill>
              <a:schemeClr val="bg1"/>
            </a:solidFill>
          </a:ln>
        </p:spPr>
        <p:txBody>
          <a:bodyPr vert="horz" wrap="none" lIns="640080" tIns="365760" rIns="640080" bIns="365760" rtlCol="0" anchor="ctr">
            <a:spAutoFit/>
          </a:bodyPr>
          <a:lstStyle>
            <a:lvl1pPr marL="0" indent="0" algn="ctr">
              <a:buNone/>
              <a:defRPr lang="en-US" sz="2667" b="1" cap="all" spc="267" baseline="0" dirty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609585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594" lvl="0" indent="-457189" algn="ctr">
              <a:lnSpc>
                <a:spcPct val="100000"/>
              </a:lnSpc>
              <a:spcBef>
                <a:spcPts val="507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9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30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7AA90C-EC64-4362-ACF3-20154AB8CA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DB50FA-0474-4434-A968-48DCFC070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10"/>
          <a:stretch/>
        </p:blipFill>
        <p:spPr>
          <a:xfrm>
            <a:off x="5" y="1"/>
            <a:ext cx="12192001" cy="691760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857D91D-C7B6-49CE-90BA-D62FD5257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5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3939C0-1AFC-404F-A99E-480FB7B95C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6C1CB0-16E9-4ECC-9D90-37E7FD3F80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4" y="681711"/>
            <a:ext cx="1188379" cy="421377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52CE1E-25A2-4071-AC90-56E8A3FE7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623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36817606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183740-7D08-4BBC-99BE-4AE1E27FA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857D91D-C7B6-49CE-90BA-D62FD52577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5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3939C0-1AFC-404F-A99E-480FB7B95C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6C1CB0-16E9-4ECC-9D90-37E7FD3F80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4" y="681711"/>
            <a:ext cx="1188379" cy="421377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52CE1E-25A2-4071-AC90-56E8A3FE7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8623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F1E3DE-1E91-49E2-9813-B1897CB3A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61" t="1049" r="2"/>
          <a:stretch/>
        </p:blipFill>
        <p:spPr>
          <a:xfrm>
            <a:off x="7115487" y="6"/>
            <a:ext cx="5076516" cy="6857999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6ABCC7-43A7-4B84-B9AB-B27270A02D21}"/>
              </a:ext>
            </a:extLst>
          </p:cNvPr>
          <p:cNvSpPr txBox="1">
            <a:spLocks/>
          </p:cNvSpPr>
          <p:nvPr userDrawn="1"/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1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3970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0FD261E-F7DA-4C55-9142-5E8444BDE5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Please add cover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D03FE8-3D79-4275-87DA-219EF786F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5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8727F2A-C901-4CDA-94BA-8EF84E8172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360C63-B08B-4AF1-AD2F-54076C4D2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4" y="681711"/>
            <a:ext cx="1188379" cy="421377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44F3E7F-7D91-4EE5-8DA3-E639949971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23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514130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0FD261E-F7DA-4C55-9142-5E8444BDE5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Please add cover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D03FE8-3D79-4275-87DA-219EF786F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5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8727F2A-C901-4CDA-94BA-8EF84E8172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360C63-B08B-4AF1-AD2F-54076C4D2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4" y="681711"/>
            <a:ext cx="1188379" cy="421377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44F3E7F-7D91-4EE5-8DA3-E639949971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23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26636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133"/>
            </a:lvl1pPr>
          </a:lstStyle>
          <a:p>
            <a:r>
              <a:rPr lang="en-US"/>
              <a:t>Please add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76251" y="1456655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947965" y="1456655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one title her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1" y="5493512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1" y="2264027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76251" y="3071399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76251" y="3878771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76251" y="4686143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>
                <a:latin typeface="+mj-lt"/>
              </a:defRPr>
            </a:lvl2pPr>
            <a:lvl3pPr marL="1219111" indent="0">
              <a:buNone/>
              <a:defRPr>
                <a:latin typeface="+mj-lt"/>
              </a:defRPr>
            </a:lvl3pPr>
            <a:lvl4pPr marL="1828664" indent="0">
              <a:buNone/>
              <a:defRPr>
                <a:latin typeface="+mj-lt"/>
              </a:defRPr>
            </a:lvl4pPr>
            <a:lvl5pPr marL="2438218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947965" y="2263477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WO title her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947965" y="3070300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HREE title here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947965" y="3877123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…</a:t>
            </a:r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947965" y="4683945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>
            <a:normAutofit/>
          </a:bodyPr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And delete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947965" y="5490769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>
            <a:normAutofit/>
          </a:bodyPr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191" indent="-380972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The extras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189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5207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E9595-695B-4CF6-87C8-F738114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>
            <a:normAutofit/>
          </a:bodyPr>
          <a:lstStyle>
            <a:lvl1pPr>
              <a:defRPr sz="1867"/>
            </a:lvl1pPr>
            <a:lvl2pPr marL="0" indent="0">
              <a:buNone/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5349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over_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0FD261E-F7DA-4C55-9142-5E8444BDE5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Please add cover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D03FE8-3D79-4275-87DA-219EF786F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2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8727F2A-C901-4CDA-94BA-8EF84E8172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360C63-B08B-4AF1-AD2F-54076C4D2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1" y="681708"/>
            <a:ext cx="1188379" cy="421377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44F3E7F-7D91-4EE5-8DA3-E639949971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22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3048639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E86E37-104E-4AC8-979C-19F5930923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5919" y="778900"/>
            <a:ext cx="11235265" cy="277341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2133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044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 marL="0" indent="0" algn="ctr">
              <a:buNone/>
              <a:defRPr sz="2133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319743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70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8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1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 marL="0" indent="0" algn="ctr">
              <a:buNone/>
              <a:defRPr sz="2133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91" y="723905"/>
            <a:ext cx="319743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FF6B5EB-6BA4-4E0E-A8EC-9738DE5290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78367" y="304805"/>
            <a:ext cx="914400" cy="294217"/>
          </a:xfrm>
        </p:spPr>
        <p:txBody>
          <a:bodyPr anchor="ctr" anchorCtr="0">
            <a:noAutofit/>
          </a:bodyPr>
          <a:lstStyle>
            <a:lvl1pPr algn="ctr">
              <a:defRPr sz="1467" i="1">
                <a:solidFill>
                  <a:schemeClr val="bg2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459735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8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>
              <a:defRPr lang="en-US" sz="2133" dirty="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20482" y="305069"/>
            <a:ext cx="369527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010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2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22DCC-F9B2-478B-B3D4-71FB4CA9C0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569200" cy="6858000"/>
          </a:xfrm>
          <a:prstGeom prst="rect">
            <a:avLst/>
          </a:prstGeom>
        </p:spPr>
        <p:txBody>
          <a:bodyPr tIns="91440" bIns="1097280" anchor="ctr" anchorCtr="0"/>
          <a:lstStyle>
            <a:lvl1pPr>
              <a:defRPr lang="en-US" sz="2133" dirty="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020482" y="723905"/>
            <a:ext cx="369527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4378FE-EADE-4D95-9A20-788A073984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020477" y="304805"/>
            <a:ext cx="914400" cy="294217"/>
          </a:xfrm>
        </p:spPr>
        <p:txBody>
          <a:bodyPr anchor="ctr" anchorCtr="0">
            <a:noAutofit/>
          </a:bodyPr>
          <a:lstStyle>
            <a:lvl1pPr algn="ctr">
              <a:defRPr sz="1467" i="1">
                <a:solidFill>
                  <a:schemeClr val="bg2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927541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Case Stud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9" y="711421"/>
            <a:ext cx="5615515" cy="410369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78B3201-D1EB-440A-A53D-D318BC0A5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715438"/>
            <a:ext cx="6096000" cy="402167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74320" tIns="45720" rIns="0" bIns="45720" rtlCol="0" anchor="ctr">
            <a:noAutofit/>
          </a:bodyPr>
          <a:lstStyle>
            <a:lvl1pPr>
              <a:defRPr lang="en-US" sz="1867" b="1" cap="all" spc="133" baseline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228584" indent="0">
              <a:buNone/>
              <a:defRPr lang="en-US" sz="1801" smtClean="0"/>
            </a:lvl2pPr>
            <a:lvl3pPr>
              <a:defRPr lang="en-US" sz="1801" smtClean="0"/>
            </a:lvl3pPr>
            <a:lvl4pPr>
              <a:defRPr lang="en-US" sz="1801" smtClean="0"/>
            </a:lvl4pPr>
            <a:lvl5pPr>
              <a:defRPr lang="en-US" sz="1801"/>
            </a:lvl5pPr>
          </a:lstStyle>
          <a:p>
            <a:pPr marL="0" lvl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10353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ale_Case Study_3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3145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rrow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7112003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EE2DB2E9-923B-4421-A06C-CF40C41A88D8}"/>
              </a:ext>
            </a:extLst>
          </p:cNvPr>
          <p:cNvSpPr/>
          <p:nvPr userDrawn="1"/>
        </p:nvSpPr>
        <p:spPr>
          <a:xfrm rot="16200000" flipH="1">
            <a:off x="3314471" y="3060480"/>
            <a:ext cx="6858000" cy="73705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1EC31C-BE50-4B70-BC3C-BF212543F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47116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rrow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AFB66DDE-837D-472C-A386-A04C91164E4F}"/>
              </a:ext>
            </a:extLst>
          </p:cNvPr>
          <p:cNvSpPr/>
          <p:nvPr userDrawn="1"/>
        </p:nvSpPr>
        <p:spPr>
          <a:xfrm rot="5400000" flipH="1">
            <a:off x="2019071" y="3060480"/>
            <a:ext cx="6858000" cy="73705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1FCA7BA-785F-40B2-9929-F00681ED1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688915-CB37-4092-9D9E-F0F759044DDE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0D63C87-B426-4C9D-8204-26C5BE0AB817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64381E6B-03B6-45D1-A274-16D1964018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010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80434DA-33E1-4DA8-A3ED-A86B2EEE5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70017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133"/>
            </a:lvl1pPr>
          </a:lstStyle>
          <a:p>
            <a:r>
              <a:rPr lang="en-US"/>
              <a:t>Please add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76251" y="1456655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947963" y="1456655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Please put section one title her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6251" y="5493512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76251" y="2264027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76251" y="3071399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76251" y="3878771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76251" y="4686143"/>
            <a:ext cx="475488" cy="475488"/>
          </a:xfrm>
          <a:prstGeom prst="rect">
            <a:avLst/>
          </a:prstGeom>
          <a:solidFill>
            <a:schemeClr val="accent2"/>
          </a:solidFill>
          <a:ln w="19050" cmpd="sng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>
            <a:normAutofit/>
          </a:bodyPr>
          <a:lstStyle>
            <a:lvl1pPr marL="0" indent="0" algn="ctr">
              <a:buNone/>
              <a:defRPr sz="1600" b="1" i="1">
                <a:solidFill>
                  <a:schemeClr val="bg1"/>
                </a:solidFill>
                <a:latin typeface="+mj-lt"/>
              </a:defRPr>
            </a:lvl1pPr>
            <a:lvl2pPr marL="609585" indent="0">
              <a:buNone/>
              <a:defRPr>
                <a:latin typeface="+mj-lt"/>
              </a:defRPr>
            </a:lvl2pPr>
            <a:lvl3pPr marL="1219170" indent="0">
              <a:buNone/>
              <a:defRPr>
                <a:latin typeface="+mj-lt"/>
              </a:defRPr>
            </a:lvl3pPr>
            <a:lvl4pPr marL="1828754" indent="0">
              <a:buNone/>
              <a:defRPr>
                <a:latin typeface="+mj-lt"/>
              </a:defRPr>
            </a:lvl4pPr>
            <a:lvl5pPr marL="2438339" indent="0">
              <a:buFont typeface="Arial" panose="020B0604020202020204" pitchFamily="34" charset="0"/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947963" y="2263477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WO title her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947963" y="3070300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Please put section THREE title here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947963" y="3877123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/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…</a:t>
            </a:r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947963" y="4683945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>
            <a:normAutofit/>
          </a:bodyPr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And delete</a:t>
            </a:r>
          </a:p>
        </p:txBody>
      </p:sp>
      <p:sp>
        <p:nvSpPr>
          <p:cNvPr id="30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947963" y="5490769"/>
            <a:ext cx="4843237" cy="475488"/>
          </a:xfrm>
          <a:prstGeom prst="rect">
            <a:avLst/>
          </a:prstGeom>
          <a:ln w="19050">
            <a:noFill/>
          </a:ln>
        </p:spPr>
        <p:txBody>
          <a:bodyPr lIns="108000" anchor="ctr">
            <a:normAutofit/>
          </a:bodyPr>
          <a:lstStyle>
            <a:lvl1pPr marL="0" indent="0">
              <a:buNone/>
              <a:defRPr sz="1600" b="1" i="0" cap="all" spc="267" baseline="0">
                <a:latin typeface="+mn-lt"/>
              </a:defRPr>
            </a:lvl1pPr>
            <a:lvl5pPr marL="2819330" indent="-38099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The extras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02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CC70D9-256D-4A27-85C0-7007304E7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5310713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AC9E3-0336-4E5B-97BB-3B9E7E0C9EC9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19CA1B-CFA9-4B0A-A2C0-7E1115579CAE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202DF6E-D609-4CF2-B225-CA4AD322C1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883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Grey_Righ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7612736" y="1"/>
            <a:ext cx="457926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9" y="305068"/>
            <a:ext cx="5615515" cy="410369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3342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Grey_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DBC29F-68B3-4805-9B0F-6C9F4A34CFEB}"/>
              </a:ext>
            </a:extLst>
          </p:cNvPr>
          <p:cNvSpPr/>
          <p:nvPr userDrawn="1"/>
        </p:nvSpPr>
        <p:spPr>
          <a:xfrm>
            <a:off x="2" y="1"/>
            <a:ext cx="457926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91" y="305068"/>
            <a:ext cx="3705433" cy="820866"/>
          </a:xfrm>
        </p:spPr>
        <p:txBody>
          <a:bodyPr vert="horz" wrap="square" lIns="0" tIns="0" rIns="9144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CE1DC0-82CD-4A04-87EB-D200935AB932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rgbClr val="474648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rgbClr val="474648"/>
              </a:solidFill>
              <a:cs typeface="Trebuchet M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706E7A8-2C1B-4349-96C6-507A8238EF06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rgbClr val="47464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3474000-7C5E-4A4E-8344-67E9E57191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9003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_Righ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5C328B-6531-473D-91B6-0E2E34FFA343}"/>
              </a:ext>
            </a:extLst>
          </p:cNvPr>
          <p:cNvSpPr/>
          <p:nvPr userDrawn="1"/>
        </p:nvSpPr>
        <p:spPr>
          <a:xfrm>
            <a:off x="7569200" y="0"/>
            <a:ext cx="46228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04805"/>
            <a:ext cx="6410848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904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7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Blue - Left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5080001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CC70D9-256D-4A27-85C0-7007304E7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91" y="305069"/>
            <a:ext cx="4337557" cy="82073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0AC9E3-0336-4E5B-97BB-3B9E7E0C9EC9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19CA1B-CFA9-4B0A-A2C0-7E1115579CAE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202DF6E-D609-4CF2-B225-CA4AD322C1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07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0">
          <p15:clr>
            <a:srgbClr val="FBAE40"/>
          </p15:clr>
        </p15:guide>
        <p15:guide id="2" orient="horz" pos="152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FB90727-537A-4481-B2D2-D331858419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374607" y="2797813"/>
            <a:ext cx="7442791" cy="78318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3200"/>
              </a:lnSpc>
              <a:buNone/>
              <a:defRPr sz="2133">
                <a:solidFill>
                  <a:schemeClr val="bg1"/>
                </a:solidFill>
                <a:latin typeface="+mj-lt"/>
              </a:defRPr>
            </a:lvl1pPr>
            <a:lvl2pPr marL="609555" indent="0">
              <a:buNone/>
              <a:defRPr sz="2133">
                <a:latin typeface="+mj-lt"/>
              </a:defRPr>
            </a:lvl2pPr>
            <a:lvl3pPr marL="1219111" indent="0">
              <a:buNone/>
              <a:defRPr sz="2133">
                <a:latin typeface="+mj-lt"/>
              </a:defRPr>
            </a:lvl3pPr>
            <a:lvl4pPr marL="1828664" indent="0">
              <a:buNone/>
              <a:defRPr sz="2133">
                <a:latin typeface="+mj-lt"/>
              </a:defRPr>
            </a:lvl4pPr>
            <a:lvl5pPr marL="2438218" indent="0">
              <a:buNone/>
              <a:defRPr sz="2133">
                <a:latin typeface="+mj-lt"/>
              </a:defRPr>
            </a:lvl5pPr>
          </a:lstStyle>
          <a:p>
            <a:pPr algn="ctr">
              <a:lnSpc>
                <a:spcPts val="2400"/>
              </a:lnSpc>
            </a:pPr>
            <a:r>
              <a:rPr lang="en-US" sz="2133" baseline="0">
                <a:solidFill>
                  <a:schemeClr val="bg1"/>
                </a:solidFill>
                <a:latin typeface="+mj-lt"/>
              </a:rPr>
              <a:t>Please add call out or quote here</a:t>
            </a:r>
            <a:br>
              <a:rPr lang="en-US" sz="2133" baseline="0">
                <a:solidFill>
                  <a:schemeClr val="bg1"/>
                </a:solidFill>
                <a:latin typeface="+mj-lt"/>
              </a:rPr>
            </a:br>
            <a:r>
              <a:rPr lang="en-US" sz="2133" baseline="0">
                <a:solidFill>
                  <a:schemeClr val="bg1"/>
                </a:solidFill>
                <a:latin typeface="+mj-lt"/>
              </a:rPr>
              <a:t>sit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consectetur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adipiscing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eli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Sed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nec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gravida,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dapib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turpi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orttitor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tincidun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nibh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Orci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vari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natoqu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enatib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et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magni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dis parturient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monte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,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nascetur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ridicul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mus. Nam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ege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eni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mauri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Vivam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sit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ame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congu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nunc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Dui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osuer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rutru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ellentesqu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ac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dia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qui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justo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porta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hasell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bibendu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vehicula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se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id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ornare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. Nam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commodo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ac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ur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porta.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roin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condimentu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lectus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leo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, in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lacinia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diam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133" baseline="0" err="1">
                <a:solidFill>
                  <a:schemeClr val="bg1"/>
                </a:solidFill>
                <a:latin typeface="+mj-lt"/>
              </a:rPr>
              <a:t>placerat</a:t>
            </a:r>
            <a:r>
              <a:rPr lang="en-US" sz="2133" baseline="0">
                <a:solidFill>
                  <a:schemeClr val="bg1"/>
                </a:solidFill>
                <a:latin typeface="+mj-lt"/>
              </a:rPr>
              <a:t> convallis. </a:t>
            </a:r>
            <a:endParaRPr lang="en-US" sz="2133" b="1" spc="267" baseline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>
            <a:off x="4" y="-163252"/>
            <a:ext cx="2064269" cy="15832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49" r="42496"/>
          <a:stretch/>
        </p:blipFill>
        <p:spPr>
          <a:xfrm rot="10800000">
            <a:off x="10127733" y="4909150"/>
            <a:ext cx="2064269" cy="1583263"/>
          </a:xfrm>
          <a:prstGeom prst="rect">
            <a:avLst/>
          </a:prstGeom>
        </p:spPr>
      </p:pic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1867" b="1" i="0">
                <a:solidFill>
                  <a:srgbClr val="FEFEFE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7862DB-23E5-4AE2-9800-A8A56CBC7351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BB6DCA-18CD-4445-A718-F9F52665582A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19CE33-D68B-4ABE-8C86-73590A592E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938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6C35C35-64AE-4632-B724-8339BC10B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10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394339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2FB406-27D7-43FB-866E-777EF12EB0E7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AE9DB65-A7F3-4BB1-8716-51DFB945743A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A9C3C3B7-5BEF-4F39-9A02-4442C3796D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37E0553-1C09-4AC9-A66A-DCD12843B5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10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366370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8C6F09-DC6A-410C-9737-A1FA179AA9C0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AFBEF-3A65-4954-B94A-32CDF78358DF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79A4BDC-6460-4363-9BA6-9BC8824CBA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6C35C35-64AE-4632-B724-8339BC10B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10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605012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0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8C6F09-DC6A-410C-9737-A1FA179AA9C0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AFBEF-3A65-4954-B94A-32CDF78358DF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79A4BDC-6460-4363-9BA6-9BC8824CBA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85EFFC8-29D6-4535-B4E1-BBBB14713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10" y="2404304"/>
            <a:ext cx="7442791" cy="1626909"/>
          </a:xfrm>
          <a:ln w="6350">
            <a:solidFill>
              <a:schemeClr val="bg1"/>
            </a:solidFill>
          </a:ln>
        </p:spPr>
        <p:txBody>
          <a:bodyPr lIns="182880" tIns="91440" rIns="18288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237630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AGENDA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133"/>
            </a:lvl1pPr>
          </a:lstStyle>
          <a:p>
            <a:r>
              <a:rPr lang="en-US"/>
              <a:t>Please add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487" y="300785"/>
            <a:ext cx="5920315" cy="410369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838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Separator_Pictur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6B0A92E-7C64-4579-8672-AC674E4ABF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tIns="914400"/>
          <a:lstStyle>
            <a:lvl1pPr algn="ctr">
              <a:defRPr spc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F54CE23-9A9D-484B-A05F-E9C146E3D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4610" y="2404304"/>
            <a:ext cx="7442791" cy="1626909"/>
          </a:xfrm>
          <a:solidFill>
            <a:srgbClr val="999999">
              <a:alpha val="50196"/>
            </a:srgbClr>
          </a:solidFill>
          <a:ln w="6350">
            <a:solidFill>
              <a:schemeClr val="bg1"/>
            </a:solidFill>
          </a:ln>
        </p:spPr>
        <p:txBody>
          <a:bodyPr lIns="91440" tIns="91440" rIns="91440" bIns="9144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507"/>
              </a:spcBef>
              <a:spcAft>
                <a:spcPts val="400"/>
              </a:spcAft>
              <a:defRPr sz="2133" b="1" cap="all" spc="267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lease add BREAKER SLIDE TITLE HERE</a:t>
            </a:r>
            <a:br>
              <a:rPr lang="en-US"/>
            </a:br>
            <a:r>
              <a:rPr lang="en-US"/>
              <a:t>Please add SECOND LINE OF TITLE HERE</a:t>
            </a:r>
          </a:p>
        </p:txBody>
      </p:sp>
    </p:spTree>
    <p:extLst>
      <p:ext uri="{BB962C8B-B14F-4D97-AF65-F5344CB8AC3E}">
        <p14:creationId xmlns:p14="http://schemas.microsoft.com/office/powerpoint/2010/main" val="1778076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ale_Separator_0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5BF87CB-FB01-41DD-B376-88161F203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n>
                <a:noFill/>
              </a:ln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21B93D-217B-45A0-84F8-068393F03D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DB2B9C3-13C4-48CB-AB0F-BDD3F22E94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7006" y="2854457"/>
            <a:ext cx="5818003" cy="1149097"/>
          </a:xfrm>
          <a:prstGeom prst="rect">
            <a:avLst/>
          </a:prstGeom>
          <a:ln w="6350">
            <a:solidFill>
              <a:schemeClr val="bg1"/>
            </a:solidFill>
          </a:ln>
        </p:spPr>
        <p:txBody>
          <a:bodyPr vert="horz" wrap="none" lIns="640080" tIns="365760" rIns="640080" bIns="365760" rtlCol="0" anchor="ctr">
            <a:spAutoFit/>
          </a:bodyPr>
          <a:lstStyle>
            <a:lvl1pPr marL="0" indent="0" algn="ctr">
              <a:buNone/>
              <a:defRPr lang="en-US" sz="2667" b="1" cap="all" spc="267" baseline="0" dirty="0" smtClean="0">
                <a:solidFill>
                  <a:schemeClr val="bg1"/>
                </a:solidFill>
                <a:ea typeface="+mj-ea"/>
                <a:cs typeface="+mj-cs"/>
              </a:defRPr>
            </a:lvl1pPr>
            <a:lvl2pPr marL="609585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594" lvl="0" indent="-457189" algn="ctr">
              <a:lnSpc>
                <a:spcPct val="100000"/>
              </a:lnSpc>
              <a:spcBef>
                <a:spcPts val="507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C9CA95-B329-488E-AEDE-3B6CF62641AE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chemeClr val="bg1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18</a:t>
            </a:r>
            <a:endParaRPr lang="en-US" sz="800" kern="0" spc="20">
              <a:solidFill>
                <a:schemeClr val="bg1"/>
              </a:solidFill>
              <a:cs typeface="Trebuchet M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0E18A8-B16A-4E6C-909E-C360BF04AA8C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DD0D591-68DD-4878-BAEA-C7FCABCAFA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605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3200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89788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939800"/>
            <a:ext cx="60960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2667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06400" y="274320"/>
            <a:ext cx="1320800" cy="66548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1" y="955040"/>
            <a:ext cx="6096001" cy="467784"/>
          </a:xfrm>
          <a:prstGeom prst="rect">
            <a:avLst/>
          </a:prstGeom>
          <a:solidFill>
            <a:schemeClr val="accent2"/>
          </a:solidFill>
        </p:spPr>
        <p:txBody>
          <a:bodyPr lIns="36576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456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939800"/>
            <a:ext cx="46228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2667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06400" y="274320"/>
            <a:ext cx="1320800" cy="66548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622800" y="0"/>
            <a:ext cx="7569200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965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  <p15:guide id="2" pos="218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0" y="0"/>
            <a:ext cx="46228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939800"/>
            <a:ext cx="46228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2667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06400" y="274320"/>
            <a:ext cx="1320800" cy="66548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74079" y="6562319"/>
            <a:ext cx="308864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defTabSz="456711"/>
            <a:r>
              <a:rPr lang="en-US" sz="800" kern="0" spc="20">
                <a:solidFill>
                  <a:schemeClr val="accent1"/>
                </a:solidFill>
                <a:cs typeface="Trebuchet MS"/>
              </a:rPr>
              <a:t>CONFIDENTIA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084332" y="6587744"/>
            <a:ext cx="0" cy="164592"/>
          </a:xfrm>
          <a:prstGeom prst="line">
            <a:avLst/>
          </a:prstGeom>
          <a:ln w="317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579" y="6577641"/>
            <a:ext cx="571868" cy="2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395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  <p15:guide id="2" pos="218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422969"/>
            <a:ext cx="6913944" cy="2237771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6996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0484" y="1439864"/>
            <a:ext cx="11119104" cy="4511040"/>
          </a:xfrm>
          <a:prstGeom prst="rect">
            <a:avLst/>
          </a:prstGeom>
        </p:spPr>
        <p:txBody>
          <a:bodyPr vert="horz" lIns="68576" tIns="34289" rIns="68576" bIns="34289" rtlCol="0">
            <a:normAutofit/>
          </a:bodyPr>
          <a:lstStyle>
            <a:lvl1pPr marL="173712" marR="0" indent="-173712" algn="l" defTabSz="457131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SzTx/>
              <a:buFont typeface="Arial"/>
              <a:buChar char="•"/>
              <a:tabLst/>
              <a:defRPr sz="1867" baseline="0">
                <a:solidFill>
                  <a:schemeClr val="tx1"/>
                </a:solidFill>
              </a:defRPr>
            </a:lvl1pPr>
            <a:lvl2pPr marL="742839" indent="-285710">
              <a:lnSpc>
                <a:spcPct val="120000"/>
              </a:lnSpc>
              <a:buClr>
                <a:schemeClr val="tx1"/>
              </a:buClr>
              <a:buSzPct val="100000"/>
              <a:buFont typeface="Lucida Grande"/>
              <a:buChar char="–"/>
              <a:defRPr sz="1600" baseline="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467" baseline="0">
                <a:solidFill>
                  <a:schemeClr val="tx1"/>
                </a:solidFill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bulleted lis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  <a:br>
              <a:rPr lang="en-US"/>
            </a:br>
            <a:endParaRPr lang="en-US"/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>
            <a:lvl1pPr>
              <a:defRPr lang="en-US" sz="3200" cap="all" baseline="0" dirty="0">
                <a:latin typeface="+mj-lt"/>
                <a:ea typeface="+mj-ea"/>
                <a:cs typeface="Arial Black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34574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69834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Blu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9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80434DA-33E1-4DA8-A3ED-A86B2EEE57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489" y="305066"/>
            <a:ext cx="5310713" cy="984885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</a:t>
            </a:r>
            <a:br>
              <a:rPr lang="en-US"/>
            </a:br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0057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1585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12192000" cy="49244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9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9833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ale_Cover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0FD261E-F7DA-4C55-9142-5E8444BDE5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0" y="0"/>
            <a:ext cx="5080000" cy="68580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Please add cover picture her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765068" y="0"/>
            <a:ext cx="707136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D03FE8-3D79-4275-87DA-219EF786F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621" y="1883223"/>
            <a:ext cx="5754624" cy="1313180"/>
          </a:xfrm>
        </p:spPr>
        <p:txBody>
          <a:bodyPr/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lease add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8727F2A-C901-4CDA-94BA-8EF84E8172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8621" y="4066329"/>
            <a:ext cx="5754624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Please add subtitle he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4360C63-B08B-4AF1-AD2F-54076C4D2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28941" y="681709"/>
            <a:ext cx="1188379" cy="421377"/>
          </a:xfrm>
          <a:prstGeom prst="rect">
            <a:avLst/>
          </a:prstGeom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44F3E7F-7D91-4EE5-8DA3-E639949971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623" y="5073393"/>
            <a:ext cx="1991036" cy="4185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>
              <a:buNone/>
              <a:defRPr sz="1600" i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r>
              <a:rPr lang="en-US"/>
              <a:t>Date or venue</a:t>
            </a:r>
          </a:p>
        </p:txBody>
      </p:sp>
    </p:spTree>
    <p:extLst>
      <p:ext uri="{BB962C8B-B14F-4D97-AF65-F5344CB8AC3E}">
        <p14:creationId xmlns:p14="http://schemas.microsoft.com/office/powerpoint/2010/main" val="871779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27358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4495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044952" y="0"/>
            <a:ext cx="304495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89904" y="0"/>
            <a:ext cx="304495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134858" y="0"/>
            <a:ext cx="3044951" cy="6858000"/>
          </a:xfrm>
        </p:spPr>
        <p:txBody>
          <a:bodyPr/>
          <a:lstStyle/>
          <a:p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044952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6089904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134856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97241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102600" y="0"/>
            <a:ext cx="40894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051301" y="0"/>
            <a:ext cx="40513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051300" cy="6858000"/>
          </a:xfrm>
        </p:spPr>
        <p:txBody>
          <a:bodyPr/>
          <a:lstStyle/>
          <a:p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060952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8102600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4707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ase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79"/>
          <p:cNvSpPr>
            <a:spLocks noGrp="1"/>
          </p:cNvSpPr>
          <p:nvPr>
            <p:ph type="body" sz="quarter" idx="12" hasCustomPrompt="1"/>
          </p:nvPr>
        </p:nvSpPr>
        <p:spPr>
          <a:xfrm rot="5400000" flipH="1">
            <a:off x="5882640" y="-2285612"/>
            <a:ext cx="0" cy="10363200"/>
          </a:xfrm>
          <a:ln w="19050">
            <a:solidFill>
              <a:schemeClr val="bg1">
                <a:lumMod val="65000"/>
              </a:schemeClr>
            </a:solidFill>
            <a:prstDash val="solid"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4801" y="1143000"/>
            <a:ext cx="11582400" cy="9144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1pPr>
            <a:lvl2pPr marL="687371" indent="-230182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1138210" indent="-223833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>
                <a:solidFill>
                  <a:schemeClr val="tx1"/>
                </a:solidFill>
              </a:defRPr>
            </a:lvl3pPr>
            <a:lvl4pPr marL="1600160" indent="-228594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>
                <a:solidFill>
                  <a:schemeClr val="tx1"/>
                </a:solidFill>
              </a:defRPr>
            </a:lvl4pPr>
            <a:lvl5pPr marL="2063699" indent="-234945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 baseline="0">
                <a:solidFill>
                  <a:schemeClr val="tx1"/>
                </a:solidFill>
              </a:defRPr>
            </a:lvl5pPr>
            <a:lvl6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6pPr>
            <a:lvl7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7pPr>
            <a:lvl8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51" hasCustomPrompt="1"/>
          </p:nvPr>
        </p:nvSpPr>
        <p:spPr>
          <a:xfrm>
            <a:off x="304800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04800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69" hasCustomPrompt="1"/>
          </p:nvPr>
        </p:nvSpPr>
        <p:spPr>
          <a:xfrm>
            <a:off x="392427" y="2332831"/>
            <a:ext cx="1498600" cy="1125539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3"/>
          <p:cNvSpPr>
            <a:spLocks noGrp="1"/>
          </p:cNvSpPr>
          <p:nvPr>
            <p:ph type="body" sz="quarter" idx="70" hasCustomPrompt="1"/>
          </p:nvPr>
        </p:nvSpPr>
        <p:spPr>
          <a:xfrm>
            <a:off x="2371583" y="2332831"/>
            <a:ext cx="1498600" cy="1125539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1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4350739" y="2332831"/>
            <a:ext cx="1498600" cy="11255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6329895" y="2332831"/>
            <a:ext cx="1498600" cy="1125539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309051" y="2332831"/>
            <a:ext cx="1498600" cy="1125539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4" hasCustomPrompt="1"/>
          </p:nvPr>
        </p:nvSpPr>
        <p:spPr>
          <a:xfrm>
            <a:off x="10288208" y="2332831"/>
            <a:ext cx="1498600" cy="1125539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txBody>
          <a:bodyPr wrap="none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4"/>
          <p:cNvSpPr>
            <a:spLocks noGrp="1"/>
          </p:cNvSpPr>
          <p:nvPr>
            <p:ph type="body" sz="quarter" idx="75" hasCustomPrompt="1"/>
          </p:nvPr>
        </p:nvSpPr>
        <p:spPr>
          <a:xfrm>
            <a:off x="2286000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4"/>
          <p:cNvSpPr>
            <a:spLocks noGrp="1"/>
          </p:cNvSpPr>
          <p:nvPr>
            <p:ph type="body" sz="quarter" idx="76" hasCustomPrompt="1"/>
          </p:nvPr>
        </p:nvSpPr>
        <p:spPr>
          <a:xfrm>
            <a:off x="2286000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7" name="Text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4264781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4"/>
          <p:cNvSpPr>
            <a:spLocks noGrp="1"/>
          </p:cNvSpPr>
          <p:nvPr>
            <p:ph type="body" sz="quarter" idx="78" hasCustomPrompt="1"/>
          </p:nvPr>
        </p:nvSpPr>
        <p:spPr>
          <a:xfrm>
            <a:off x="4264781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9" name="Text Placeholder 4"/>
          <p:cNvSpPr>
            <a:spLocks noGrp="1"/>
          </p:cNvSpPr>
          <p:nvPr>
            <p:ph type="body" sz="quarter" idx="79" hasCustomPrompt="1"/>
          </p:nvPr>
        </p:nvSpPr>
        <p:spPr>
          <a:xfrm>
            <a:off x="6250517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0" name="Text Placeholder 4"/>
          <p:cNvSpPr>
            <a:spLocks noGrp="1"/>
          </p:cNvSpPr>
          <p:nvPr>
            <p:ph type="body" sz="quarter" idx="80" hasCustomPrompt="1"/>
          </p:nvPr>
        </p:nvSpPr>
        <p:spPr>
          <a:xfrm>
            <a:off x="6250517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81" hasCustomPrompt="1"/>
          </p:nvPr>
        </p:nvSpPr>
        <p:spPr>
          <a:xfrm>
            <a:off x="8229600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2" name="Text Placeholder 4"/>
          <p:cNvSpPr>
            <a:spLocks noGrp="1"/>
          </p:cNvSpPr>
          <p:nvPr>
            <p:ph type="body" sz="quarter" idx="82" hasCustomPrompt="1"/>
          </p:nvPr>
        </p:nvSpPr>
        <p:spPr>
          <a:xfrm>
            <a:off x="8229600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3" name="Text Placeholder 4"/>
          <p:cNvSpPr>
            <a:spLocks noGrp="1"/>
          </p:cNvSpPr>
          <p:nvPr>
            <p:ph type="body" sz="quarter" idx="83" hasCustomPrompt="1"/>
          </p:nvPr>
        </p:nvSpPr>
        <p:spPr>
          <a:xfrm>
            <a:off x="10210800" y="3765550"/>
            <a:ext cx="1676400" cy="463551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000" b="0">
                <a:solidFill>
                  <a:schemeClr val="tx1"/>
                </a:solidFill>
                <a:latin typeface="Facit Semibold" pitchFamily="50" charset="0"/>
                <a:ea typeface="Facit Semibold" pitchFamily="50" charset="0"/>
              </a:defRPr>
            </a:lvl1pPr>
            <a:lvl2pPr marL="274313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84" name="Text Placeholder 4"/>
          <p:cNvSpPr>
            <a:spLocks noGrp="1"/>
          </p:cNvSpPr>
          <p:nvPr>
            <p:ph type="body" sz="quarter" idx="84" hasCustomPrompt="1"/>
          </p:nvPr>
        </p:nvSpPr>
        <p:spPr>
          <a:xfrm>
            <a:off x="10210800" y="4413250"/>
            <a:ext cx="1676400" cy="175895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1000">
                <a:solidFill>
                  <a:schemeClr val="tx1"/>
                </a:solidFill>
              </a:defRPr>
            </a:lvl1pPr>
            <a:lvl2pPr marL="457189" indent="-1828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200" baseline="0">
                <a:solidFill>
                  <a:schemeClr val="tx1"/>
                </a:solidFill>
              </a:defRPr>
            </a:lvl2pPr>
            <a:lvl3pPr marL="731502" indent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3pPr>
            <a:lvl4pPr marL="1188690" indent="0">
              <a:spcBef>
                <a:spcPts val="300"/>
              </a:spcBef>
              <a:spcAft>
                <a:spcPts val="0"/>
              </a:spcAft>
              <a:buFont typeface="Arial"/>
              <a:buNone/>
              <a:defRPr sz="1400">
                <a:solidFill>
                  <a:schemeClr val="tx1"/>
                </a:solidFill>
              </a:defRPr>
            </a:lvl4pPr>
            <a:lvl5pPr marL="1828754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 baseline="0">
                <a:solidFill>
                  <a:schemeClr val="tx1"/>
                </a:solidFill>
              </a:defRPr>
            </a:lvl5pPr>
            <a:lvl6pPr marL="2285943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6pPr>
            <a:lvl7pPr marL="2743131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7pPr>
            <a:lvl8pPr marL="3200320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8pPr>
            <a:lvl9pPr marL="3657509" indent="-182875">
              <a:spcBef>
                <a:spcPts val="300"/>
              </a:spcBef>
              <a:spcAft>
                <a:spcPts val="0"/>
              </a:spcAft>
              <a:buFont typeface="Arial"/>
              <a:buChar char="•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85"/>
          </p:nvPr>
        </p:nvSpPr>
        <p:spPr>
          <a:xfrm>
            <a:off x="304800" y="228600"/>
            <a:ext cx="11582400" cy="228600"/>
          </a:xfrm>
        </p:spPr>
        <p:txBody>
          <a:bodyPr anchor="b"/>
          <a:lstStyle>
            <a:lvl1pPr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0172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3845" y="1889830"/>
            <a:ext cx="9934225" cy="993073"/>
          </a:xfrm>
          <a:prstGeom prst="rect">
            <a:avLst/>
          </a:prstGeom>
        </p:spPr>
        <p:txBody>
          <a:bodyPr lIns="68580" tIns="0" rIns="68580" bIns="3429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5467" kern="0" cap="all" spc="-100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77426" y="3839367"/>
            <a:ext cx="3454920" cy="349648"/>
          </a:xfrm>
          <a:prstGeom prst="rect">
            <a:avLst/>
          </a:prstGeom>
          <a:solidFill>
            <a:schemeClr val="accent2"/>
          </a:solidFill>
        </p:spPr>
        <p:txBody>
          <a:bodyPr wrap="none" lIns="68580" tIns="27432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867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880532" y="5459487"/>
            <a:ext cx="4866216" cy="373063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MONTH DATE, YEAR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837173" y="673103"/>
            <a:ext cx="1658003" cy="610983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3048472" y="673102"/>
            <a:ext cx="1882121" cy="611841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764117" y="761999"/>
            <a:ext cx="0" cy="463176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0566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68580" tIns="34290" rIns="68580" bIns="34290"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Background Imag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2433" y="2075579"/>
            <a:ext cx="9213851" cy="742319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67" spc="-200">
                <a:solidFill>
                  <a:schemeClr val="bg1"/>
                </a:solidFill>
                <a:latin typeface="Arial Black"/>
                <a:cs typeface="Arial Black"/>
              </a:defRPr>
            </a:lvl1pPr>
            <a:lvl2pPr>
              <a:defRPr sz="6000">
                <a:latin typeface="Arial Black"/>
                <a:cs typeface="Arial Black"/>
              </a:defRPr>
            </a:lvl2pPr>
            <a:lvl3pPr>
              <a:defRPr sz="6000">
                <a:latin typeface="Arial Black"/>
                <a:cs typeface="Arial Black"/>
              </a:defRPr>
            </a:lvl3pPr>
            <a:lvl4pPr>
              <a:defRPr sz="6000">
                <a:latin typeface="Arial Black"/>
                <a:cs typeface="Arial Black"/>
              </a:defRPr>
            </a:lvl4pPr>
            <a:lvl5pPr>
              <a:defRPr sz="6000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0537" y="4453470"/>
            <a:ext cx="8650817" cy="356572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880532" y="5459487"/>
            <a:ext cx="4866216" cy="373063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buNone/>
              <a:defRPr sz="1867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MONTH DATE, YEAR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837173" y="673103"/>
            <a:ext cx="1658003" cy="610983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5078815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2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0" y="1316736"/>
            <a:ext cx="2483157" cy="352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68580" tIns="54864" rIns="68580" bIns="54864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333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Subtitle to go her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2192000" y="943720"/>
            <a:ext cx="0" cy="5598499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2"/>
          <p:cNvSpPr>
            <a:spLocks noGrp="1"/>
          </p:cNvSpPr>
          <p:nvPr>
            <p:ph sz="quarter" idx="10" hasCustomPrompt="1"/>
          </p:nvPr>
        </p:nvSpPr>
        <p:spPr>
          <a:xfrm>
            <a:off x="406400" y="1776415"/>
            <a:ext cx="11325013" cy="1447693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300"/>
              </a:spcAft>
              <a:buNone/>
              <a:defRPr sz="1600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>
                <a:solidFill>
                  <a:srgbClr val="444444"/>
                </a:solidFill>
              </a:rPr>
              <a:t>Click to add text - Lorem </a:t>
            </a:r>
            <a:r>
              <a:rPr lang="en-US" err="1">
                <a:solidFill>
                  <a:srgbClr val="444444"/>
                </a:solidFill>
              </a:rPr>
              <a:t>ipsum</a:t>
            </a:r>
            <a:r>
              <a:rPr lang="en-US">
                <a:solidFill>
                  <a:srgbClr val="444444"/>
                </a:solidFill>
              </a:rPr>
              <a:t> dolor sit </a:t>
            </a:r>
            <a:r>
              <a:rPr lang="en-US" err="1">
                <a:solidFill>
                  <a:srgbClr val="444444"/>
                </a:solidFill>
              </a:rPr>
              <a:t>amet</a:t>
            </a:r>
            <a:r>
              <a:rPr lang="en-US">
                <a:solidFill>
                  <a:srgbClr val="444444"/>
                </a:solidFill>
              </a:rPr>
              <a:t>, </a:t>
            </a:r>
            <a:r>
              <a:rPr lang="en-US" err="1">
                <a:solidFill>
                  <a:srgbClr val="444444"/>
                </a:solidFill>
              </a:rPr>
              <a:t>consectetur</a:t>
            </a:r>
            <a:r>
              <a:rPr lang="en-US">
                <a:solidFill>
                  <a:srgbClr val="444444"/>
                </a:solidFill>
              </a:rPr>
              <a:t> adipiscing </a:t>
            </a:r>
            <a:r>
              <a:rPr lang="en-US" err="1">
                <a:solidFill>
                  <a:srgbClr val="444444"/>
                </a:solidFill>
              </a:rPr>
              <a:t>elit</a:t>
            </a:r>
            <a:r>
              <a:rPr lang="en-US">
                <a:solidFill>
                  <a:srgbClr val="444444"/>
                </a:solidFill>
              </a:rPr>
              <a:t>. </a:t>
            </a:r>
            <a:r>
              <a:rPr lang="en-US" err="1">
                <a:solidFill>
                  <a:srgbClr val="444444"/>
                </a:solidFill>
              </a:rPr>
              <a:t>Ut</a:t>
            </a:r>
            <a:r>
              <a:rPr lang="en-US">
                <a:solidFill>
                  <a:srgbClr val="444444"/>
                </a:solidFill>
              </a:rPr>
              <a:t> vitae </a:t>
            </a:r>
            <a:r>
              <a:rPr lang="en-US" err="1">
                <a:solidFill>
                  <a:srgbClr val="444444"/>
                </a:solidFill>
              </a:rPr>
              <a:t>laoreet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mauris</a:t>
            </a:r>
            <a:r>
              <a:rPr lang="en-US">
                <a:solidFill>
                  <a:srgbClr val="444444"/>
                </a:solidFill>
              </a:rPr>
              <a:t>. </a:t>
            </a:r>
            <a:r>
              <a:rPr lang="en-US" err="1">
                <a:solidFill>
                  <a:srgbClr val="444444"/>
                </a:solidFill>
              </a:rPr>
              <a:t>Sed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eleifend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lorem</a:t>
            </a:r>
            <a:r>
              <a:rPr lang="en-US">
                <a:solidFill>
                  <a:srgbClr val="444444"/>
                </a:solidFill>
              </a:rPr>
              <a:t> a </a:t>
            </a:r>
            <a:r>
              <a:rPr lang="en-US" err="1">
                <a:solidFill>
                  <a:srgbClr val="444444"/>
                </a:solidFill>
              </a:rPr>
              <a:t>purus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tincidunt</a:t>
            </a:r>
            <a:r>
              <a:rPr lang="en-US">
                <a:solidFill>
                  <a:srgbClr val="444444"/>
                </a:solidFill>
              </a:rPr>
              <a:t>, a </a:t>
            </a:r>
            <a:r>
              <a:rPr lang="en-US" err="1">
                <a:solidFill>
                  <a:srgbClr val="444444"/>
                </a:solidFill>
              </a:rPr>
              <a:t>malesuada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mauris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bibendum</a:t>
            </a:r>
            <a:r>
              <a:rPr lang="en-US">
                <a:solidFill>
                  <a:srgbClr val="444444"/>
                </a:solidFill>
              </a:rPr>
              <a:t>. </a:t>
            </a:r>
            <a:r>
              <a:rPr lang="en-US" err="1">
                <a:solidFill>
                  <a:srgbClr val="444444"/>
                </a:solidFill>
              </a:rPr>
              <a:t>Praesent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bibendum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justo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nec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metus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auctor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volutpat</a:t>
            </a:r>
            <a:r>
              <a:rPr lang="en-US">
                <a:solidFill>
                  <a:srgbClr val="444444"/>
                </a:solidFill>
              </a:rPr>
              <a:t>. </a:t>
            </a:r>
            <a:r>
              <a:rPr lang="en-US" err="1">
                <a:solidFill>
                  <a:srgbClr val="444444"/>
                </a:solidFill>
              </a:rPr>
              <a:t>Morbi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malesuada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mattis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eros</a:t>
            </a:r>
            <a:r>
              <a:rPr lang="en-US">
                <a:solidFill>
                  <a:srgbClr val="444444"/>
                </a:solidFill>
              </a:rPr>
              <a:t>, adipiscing </a:t>
            </a:r>
            <a:r>
              <a:rPr lang="en-US" err="1">
                <a:solidFill>
                  <a:srgbClr val="444444"/>
                </a:solidFill>
              </a:rPr>
              <a:t>tempor</a:t>
            </a:r>
            <a:r>
              <a:rPr lang="en-US">
                <a:solidFill>
                  <a:srgbClr val="444444"/>
                </a:solidFill>
              </a:rPr>
              <a:t> </a:t>
            </a:r>
            <a:r>
              <a:rPr lang="en-US" err="1">
                <a:solidFill>
                  <a:srgbClr val="444444"/>
                </a:solidFill>
              </a:rPr>
              <a:t>lorem</a:t>
            </a:r>
            <a:r>
              <a:rPr lang="en-US">
                <a:solidFill>
                  <a:srgbClr val="444444"/>
                </a:solidFill>
              </a:rPr>
              <a:t>.</a:t>
            </a:r>
            <a:endParaRPr lang="en-US"/>
          </a:p>
        </p:txBody>
      </p:sp>
      <p:sp>
        <p:nvSpPr>
          <p:cNvPr id="19" name="Content Placeholder 22"/>
          <p:cNvSpPr>
            <a:spLocks noGrp="1"/>
          </p:cNvSpPr>
          <p:nvPr>
            <p:ph sz="quarter" idx="17" hasCustomPrompt="1"/>
          </p:nvPr>
        </p:nvSpPr>
        <p:spPr>
          <a:xfrm>
            <a:off x="406400" y="4023360"/>
            <a:ext cx="11318344" cy="2020253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 marL="170684" marR="0" indent="-170684" algn="l" defTabSz="4571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SzTx/>
              <a:buFont typeface="Arial"/>
              <a:buChar char="•"/>
              <a:tabLst/>
              <a:defRPr sz="1600" baseline="0"/>
            </a:lvl1pPr>
            <a:lvl2pPr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06400" y="3470656"/>
            <a:ext cx="2483157" cy="352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68580" tIns="54864" rIns="68580" bIns="54864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333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Subtitle to go here</a:t>
            </a:r>
          </a:p>
        </p:txBody>
      </p:sp>
    </p:spTree>
    <p:extLst>
      <p:ext uri="{BB962C8B-B14F-4D97-AF65-F5344CB8AC3E}">
        <p14:creationId xmlns:p14="http://schemas.microsoft.com/office/powerpoint/2010/main" val="41785987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H="1" flipV="1">
            <a:off x="6155770" y="3740278"/>
            <a:ext cx="24900" cy="2734233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>
            <a:off x="0" y="3733800"/>
            <a:ext cx="12192000" cy="0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1780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97355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430567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832152" y="5547271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7077675" y="5547271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4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1567562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5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5639546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6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9734334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8373457" y="393122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3127934" y="393122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569580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4705049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708576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7375474" y="501508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2129952" y="501508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 flipV="1">
            <a:off x="8178173" y="890571"/>
            <a:ext cx="0" cy="2834767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flipV="1">
            <a:off x="4032893" y="890571"/>
            <a:ext cx="0" cy="2834767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3778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E9595-695B-4CF6-87C8-F738114B6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>
            <a:normAutofit/>
          </a:bodyPr>
          <a:lstStyle>
            <a:lvl1pPr>
              <a:defRPr sz="1867"/>
            </a:lvl1pPr>
            <a:lvl2pPr marL="0" indent="0">
              <a:buNone/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786232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H="1">
            <a:off x="0" y="3733800"/>
            <a:ext cx="12192000" cy="0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71780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97355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430567" y="2789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81416" y="5547271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86165" y="5547271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1567562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1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5639546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2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9734334" y="1176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5681947" y="393122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4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1577198" y="393122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569580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4705049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708576" y="2268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4683965" y="501508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579216" y="501508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8178173" y="890572"/>
            <a:ext cx="0" cy="5579744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4032893" y="890573"/>
            <a:ext cx="0" cy="5561919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8432341" y="5547271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26" name="Picture Placeholder 16"/>
          <p:cNvSpPr>
            <a:spLocks noGrp="1"/>
          </p:cNvSpPr>
          <p:nvPr>
            <p:ph type="pic" sz="quarter" idx="30"/>
          </p:nvPr>
        </p:nvSpPr>
        <p:spPr>
          <a:xfrm>
            <a:off x="9728123" y="393122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31" hasCustomPrompt="1"/>
          </p:nvPr>
        </p:nvSpPr>
        <p:spPr>
          <a:xfrm>
            <a:off x="8730141" y="501508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</p:spTree>
    <p:extLst>
      <p:ext uri="{BB962C8B-B14F-4D97-AF65-F5344CB8AC3E}">
        <p14:creationId xmlns:p14="http://schemas.microsoft.com/office/powerpoint/2010/main" val="30290810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94912" y="3805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302759" y="3805640"/>
            <a:ext cx="3520440" cy="8515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9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2690691" y="2192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8544950" y="2192763"/>
            <a:ext cx="928884" cy="928884"/>
          </a:xfrm>
          <a:prstGeom prst="ellipse">
            <a:avLst/>
          </a:prstGeom>
        </p:spPr>
        <p:txBody>
          <a:bodyPr vert="horz"/>
          <a:lstStyle>
            <a:lvl1pPr marL="0" indent="0" algn="ctr">
              <a:buNone/>
              <a:defRPr sz="933"/>
            </a:lvl1pPr>
          </a:lstStyle>
          <a:p>
            <a:endParaRPr lang="en-US"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1692709" y="3284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7610453" y="3284497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Name Her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6100543" y="890573"/>
            <a:ext cx="0" cy="5561919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8055423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Layout_ 4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H="1">
            <a:off x="0" y="2140415"/>
            <a:ext cx="7518400" cy="3268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780329" y="1912221"/>
            <a:ext cx="4181380" cy="36673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</a:t>
            </a:r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379926" y="118476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7773856" y="1184764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7781874" y="3695069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382432" y="2590229"/>
            <a:ext cx="2924849" cy="36827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 marL="0" indent="0" algn="ctr">
              <a:buNone/>
              <a:defRPr sz="1600" cap="all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867">
                <a:latin typeface="Arial Black"/>
                <a:cs typeface="Arial Black"/>
              </a:defRPr>
            </a:lvl2pPr>
            <a:lvl3pPr marL="1219170" indent="0">
              <a:buNone/>
              <a:defRPr sz="1867">
                <a:latin typeface="Arial Black"/>
                <a:cs typeface="Arial Black"/>
              </a:defRPr>
            </a:lvl3pPr>
            <a:lvl4pPr marL="1828754" indent="0">
              <a:buNone/>
              <a:defRPr sz="1867">
                <a:latin typeface="Arial Black"/>
                <a:cs typeface="Arial Black"/>
              </a:defRPr>
            </a:lvl4pPr>
            <a:lvl5pPr marL="2438339" indent="0">
              <a:buNone/>
              <a:defRPr sz="1867">
                <a:latin typeface="Arial Black"/>
                <a:cs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flipV="1">
            <a:off x="7527933" y="890571"/>
            <a:ext cx="0" cy="5584736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7780329" y="1617320"/>
            <a:ext cx="4181380" cy="333400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buNone/>
              <a:defRPr sz="1867" cap="all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7780329" y="2561516"/>
            <a:ext cx="4181380" cy="36673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7780329" y="2280161"/>
            <a:ext cx="4181380" cy="33340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67" cap="all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7780329" y="3201989"/>
            <a:ext cx="4181380" cy="36673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7780329" y="2930716"/>
            <a:ext cx="4181380" cy="33340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67" cap="all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sp>
        <p:nvSpPr>
          <p:cNvPr id="34" name="Chart Placeholder 33"/>
          <p:cNvSpPr>
            <a:spLocks noGrp="1"/>
          </p:cNvSpPr>
          <p:nvPr>
            <p:ph type="chart" sz="quarter" idx="34"/>
          </p:nvPr>
        </p:nvSpPr>
        <p:spPr>
          <a:xfrm>
            <a:off x="7776636" y="4209145"/>
            <a:ext cx="4185073" cy="21044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5" name="Chart Placeholder 33"/>
          <p:cNvSpPr>
            <a:spLocks noGrp="1"/>
          </p:cNvSpPr>
          <p:nvPr>
            <p:ph type="chart" sz="quarter" idx="35"/>
          </p:nvPr>
        </p:nvSpPr>
        <p:spPr>
          <a:xfrm>
            <a:off x="353062" y="3129281"/>
            <a:ext cx="6989233" cy="314282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397392" y="1617320"/>
            <a:ext cx="6904261" cy="33340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67" cap="all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>
          <a:xfrm flipH="1" flipV="1">
            <a:off x="7530032" y="3624505"/>
            <a:ext cx="4661968" cy="6003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9699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80484" y="1439864"/>
            <a:ext cx="11119104" cy="451104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173732" marR="0" indent="-173732" algn="l" defTabSz="4571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SzTx/>
              <a:buFont typeface="Arial"/>
              <a:buChar char="•"/>
              <a:tabLst/>
              <a:defRPr sz="1867" baseline="0">
                <a:solidFill>
                  <a:schemeClr val="tx1"/>
                </a:solidFill>
              </a:defRPr>
            </a:lvl1pPr>
            <a:lvl2pPr marL="742932" indent="-285744">
              <a:lnSpc>
                <a:spcPct val="120000"/>
              </a:lnSpc>
              <a:buClr>
                <a:schemeClr val="tx1"/>
              </a:buClr>
              <a:buSzPct val="100000"/>
              <a:buFont typeface="Lucida Grande"/>
              <a:buChar char="–"/>
              <a:defRPr sz="1600" baseline="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467" baseline="0">
                <a:solidFill>
                  <a:schemeClr val="tx1"/>
                </a:solidFill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bulleted lis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  <a:br>
              <a:rPr lang="en-US"/>
            </a:br>
            <a:endParaRPr lang="en-US"/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  <a:p>
            <a:pPr lvl="0"/>
            <a:r>
              <a:rPr lang="en-US"/>
              <a:t>Click to add bulleted list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116630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76251" y="1411641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491644" y="3131917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76251" y="4921472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4417108" y="1411641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432501" y="3131917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4417108" y="4921472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357949" y="1411641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8" hasCustomPrompt="1"/>
          </p:nvPr>
        </p:nvSpPr>
        <p:spPr>
          <a:xfrm>
            <a:off x="8373343" y="3131917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8357949" y="4921472"/>
            <a:ext cx="3418416" cy="1183259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2109979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buNone/>
              <a:defRPr baseline="0"/>
            </a:lvl1pPr>
          </a:lstStyle>
          <a:p>
            <a:endParaRPr lang="en-US"/>
          </a:p>
          <a:p>
            <a:r>
              <a:rPr lang="en-US"/>
              <a:t>Background Imag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2433" y="2075581"/>
            <a:ext cx="9213851" cy="67306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67" spc="-267">
                <a:solidFill>
                  <a:schemeClr val="bg1"/>
                </a:solidFill>
                <a:latin typeface="Arial Black"/>
                <a:cs typeface="Arial Black"/>
              </a:defRPr>
            </a:lvl1pPr>
            <a:lvl2pPr>
              <a:defRPr sz="8000">
                <a:latin typeface="Arial Black"/>
                <a:cs typeface="Arial Black"/>
              </a:defRPr>
            </a:lvl2pPr>
            <a:lvl3pPr>
              <a:defRPr sz="8000">
                <a:latin typeface="Arial Black"/>
                <a:cs typeface="Arial Black"/>
              </a:defRPr>
            </a:lvl3pPr>
            <a:lvl4pPr>
              <a:defRPr sz="8000">
                <a:latin typeface="Arial Black"/>
                <a:cs typeface="Arial Black"/>
              </a:defRPr>
            </a:lvl4pPr>
            <a:lvl5pPr>
              <a:defRPr sz="8000">
                <a:latin typeface="Arial Black"/>
                <a:cs typeface="Arial Black"/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42438" y="4453468"/>
            <a:ext cx="8650817" cy="461665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842433" y="5459484"/>
            <a:ext cx="4866216" cy="461665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buNone/>
              <a:defRPr sz="2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MONTH DATE, YEAR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837173" y="504828"/>
            <a:ext cx="1658003" cy="458237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914896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Horizontal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541867" y="1463039"/>
            <a:ext cx="2999216" cy="704428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cap="all" baseline="0">
                <a:latin typeface="Arial Black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Client</a:t>
            </a:r>
          </a:p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Logo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4002617" y="1463465"/>
            <a:ext cx="7450667" cy="704003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342891" indent="-342891">
              <a:spcBef>
                <a:spcPts val="0"/>
              </a:spcBef>
              <a:buClr>
                <a:schemeClr val="accent2"/>
              </a:buClr>
              <a:buSzPct val="100000"/>
              <a:buFont typeface="Arial"/>
              <a:buChar char="•"/>
              <a:defRPr lang="en-US" sz="1600" smtClean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 err="1"/>
              <a:t>Fusce</a:t>
            </a:r>
            <a:r>
              <a:rPr lang="en-US"/>
              <a:t> in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non </a:t>
            </a:r>
            <a:r>
              <a:rPr lang="en-US" err="1"/>
              <a:t>tortor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541867" y="2438399"/>
            <a:ext cx="2999216" cy="704428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cap="all">
                <a:latin typeface="Arial Black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Client</a:t>
            </a:r>
          </a:p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Logo Here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002617" y="2438825"/>
            <a:ext cx="7450667" cy="704003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342891" indent="-342891">
              <a:spcBef>
                <a:spcPts val="0"/>
              </a:spcBef>
              <a:buClr>
                <a:schemeClr val="accent2"/>
              </a:buClr>
              <a:buSzPct val="100000"/>
              <a:buFont typeface="Arial"/>
              <a:buChar char="•"/>
              <a:defRPr lang="en-US" sz="1600" smtClean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 err="1"/>
              <a:t>Fusce</a:t>
            </a:r>
            <a:r>
              <a:rPr lang="en-US"/>
              <a:t> in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non </a:t>
            </a:r>
            <a:r>
              <a:rPr lang="en-US" err="1"/>
              <a:t>tortor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541867" y="3400214"/>
            <a:ext cx="2999216" cy="704428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cap="all">
                <a:latin typeface="Arial Black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Client</a:t>
            </a:r>
          </a:p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Logo Here</a:t>
            </a: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002617" y="3400640"/>
            <a:ext cx="7450667" cy="704003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342891" indent="-342891">
              <a:spcBef>
                <a:spcPts val="0"/>
              </a:spcBef>
              <a:buClr>
                <a:schemeClr val="accent2"/>
              </a:buClr>
              <a:buSzPct val="100000"/>
              <a:buFont typeface="Arial"/>
              <a:buChar char="•"/>
              <a:defRPr lang="en-US" sz="1600" smtClean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 err="1"/>
              <a:t>Fusce</a:t>
            </a:r>
            <a:r>
              <a:rPr lang="en-US"/>
              <a:t> in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non </a:t>
            </a:r>
            <a:r>
              <a:rPr lang="en-US" err="1"/>
              <a:t>tortor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cxnSp>
        <p:nvCxnSpPr>
          <p:cNvPr id="25" name="Straight Connector 24"/>
          <p:cNvCxnSpPr/>
          <p:nvPr userDrawn="1"/>
        </p:nvCxnSpPr>
        <p:spPr>
          <a:xfrm flipH="1" flipV="1">
            <a:off x="3725333" y="894084"/>
            <a:ext cx="40640" cy="5554131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541867" y="4402667"/>
            <a:ext cx="2999216" cy="704428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cap="all">
                <a:latin typeface="Arial Black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Client</a:t>
            </a:r>
          </a:p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Logo Here</a:t>
            </a: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002617" y="4403093"/>
            <a:ext cx="7450667" cy="704003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342891" indent="-342891">
              <a:spcBef>
                <a:spcPts val="0"/>
              </a:spcBef>
              <a:buClr>
                <a:schemeClr val="accent2"/>
              </a:buClr>
              <a:buSzPct val="100000"/>
              <a:buFont typeface="Arial"/>
              <a:buChar char="•"/>
              <a:defRPr lang="en-US" sz="1600" smtClean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 err="1"/>
              <a:t>Fusce</a:t>
            </a:r>
            <a:r>
              <a:rPr lang="en-US"/>
              <a:t> in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non </a:t>
            </a:r>
            <a:r>
              <a:rPr lang="en-US" err="1"/>
              <a:t>tortor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541867" y="5350934"/>
            <a:ext cx="2999216" cy="704428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cap="all">
                <a:latin typeface="Arial Black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Client</a:t>
            </a:r>
          </a:p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Logo Here</a:t>
            </a: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4002617" y="5351360"/>
            <a:ext cx="7450667" cy="704003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342891" indent="-342891">
              <a:spcBef>
                <a:spcPts val="0"/>
              </a:spcBef>
              <a:buClr>
                <a:schemeClr val="accent2"/>
              </a:buClr>
              <a:buSzPct val="100000"/>
              <a:buFont typeface="Arial"/>
              <a:buChar char="•"/>
              <a:defRPr lang="en-US" sz="1600" smtClean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 err="1"/>
              <a:t>Fusce</a:t>
            </a:r>
            <a:r>
              <a:rPr lang="en-US"/>
              <a:t> in </a:t>
            </a:r>
            <a:r>
              <a:rPr lang="en-US" err="1"/>
              <a:t>odi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non </a:t>
            </a:r>
            <a:r>
              <a:rPr lang="en-US" err="1"/>
              <a:t>tortor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98043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ards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V="1">
            <a:off x="4064000" y="896274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V="1">
            <a:off x="8128000" y="886011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>
            <a:off x="0" y="3712443"/>
            <a:ext cx="12192000" cy="0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43842" y="1982697"/>
            <a:ext cx="3549228" cy="1563843"/>
          </a:xfrm>
          <a:prstGeom prst="rect">
            <a:avLst/>
          </a:prstGeom>
        </p:spPr>
        <p:txBody>
          <a:bodyPr vert="horz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34935" y="1968599"/>
            <a:ext cx="3522135" cy="1579943"/>
          </a:xfrm>
          <a:prstGeom prst="rect">
            <a:avLst/>
          </a:prstGeom>
        </p:spPr>
        <p:txBody>
          <a:bodyPr vert="horz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466667" y="1968599"/>
            <a:ext cx="3467947" cy="1579943"/>
          </a:xfrm>
          <a:prstGeom prst="rect">
            <a:avLst/>
          </a:prstGeom>
        </p:spPr>
        <p:txBody>
          <a:bodyPr vert="horz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43842" y="4784341"/>
            <a:ext cx="3549228" cy="150237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4935" y="4798435"/>
            <a:ext cx="3522135" cy="148627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453120" y="4812532"/>
            <a:ext cx="3481493" cy="147017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 sz="1600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36" hasCustomPrompt="1"/>
          </p:nvPr>
        </p:nvSpPr>
        <p:spPr>
          <a:xfrm>
            <a:off x="841606" y="1202800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37" hasCustomPrompt="1"/>
          </p:nvPr>
        </p:nvSpPr>
        <p:spPr>
          <a:xfrm>
            <a:off x="4937855" y="1202801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38" hasCustomPrompt="1"/>
          </p:nvPr>
        </p:nvSpPr>
        <p:spPr>
          <a:xfrm>
            <a:off x="8969607" y="1202800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9" hasCustomPrompt="1"/>
          </p:nvPr>
        </p:nvSpPr>
        <p:spPr>
          <a:xfrm>
            <a:off x="841606" y="4020991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40" hasCustomPrompt="1"/>
          </p:nvPr>
        </p:nvSpPr>
        <p:spPr>
          <a:xfrm>
            <a:off x="4937855" y="4020991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  <p:sp>
        <p:nvSpPr>
          <p:cNvPr id="35" name="Picture Placeholder 4"/>
          <p:cNvSpPr>
            <a:spLocks noGrp="1"/>
          </p:cNvSpPr>
          <p:nvPr>
            <p:ph type="pic" sz="quarter" idx="41" hasCustomPrompt="1"/>
          </p:nvPr>
        </p:nvSpPr>
        <p:spPr>
          <a:xfrm>
            <a:off x="8969607" y="4020991"/>
            <a:ext cx="2473527" cy="61269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67" cap="all"/>
            </a:lvl1pPr>
          </a:lstStyle>
          <a:p>
            <a:pPr>
              <a:lnSpc>
                <a:spcPct val="120000"/>
              </a:lnSpc>
            </a:pPr>
            <a:r>
              <a:rPr lang="en-US" sz="1600">
                <a:solidFill>
                  <a:srgbClr val="444444"/>
                </a:solidFill>
                <a:latin typeface="Arial Black"/>
                <a:cs typeface="Arial Black"/>
              </a:rPr>
              <a:t>Text or Logo Here</a:t>
            </a:r>
          </a:p>
        </p:txBody>
      </p:sp>
    </p:spTree>
    <p:extLst>
      <p:ext uri="{BB962C8B-B14F-4D97-AF65-F5344CB8AC3E}">
        <p14:creationId xmlns:p14="http://schemas.microsoft.com/office/powerpoint/2010/main" val="7278395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_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326186" y="1229595"/>
            <a:ext cx="10174372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1326186" y="2282503"/>
            <a:ext cx="10174372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1326186" y="3335409"/>
            <a:ext cx="10174372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1326186" y="4388316"/>
            <a:ext cx="10174372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7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1340298" y="5441221"/>
            <a:ext cx="10174372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4644" y="1128184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04644" y="2175933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04644" y="3223684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04644" y="4271433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04644" y="5319184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371721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_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204265" y="1229595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1204265" y="2282503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1204265" y="3335409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1204265" y="4388316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7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1218377" y="5441221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42195" y="1128183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42195" y="2175932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42195" y="3223683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42195" y="4271432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42195" y="5319183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7192837" y="1233833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23" hasCustomPrompt="1"/>
          </p:nvPr>
        </p:nvSpPr>
        <p:spPr>
          <a:xfrm>
            <a:off x="7192837" y="2286740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0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7192837" y="3339647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7192837" y="4392555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26" hasCustomPrompt="1"/>
          </p:nvPr>
        </p:nvSpPr>
        <p:spPr>
          <a:xfrm>
            <a:off x="7206950" y="5445459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30768" y="1132420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330768" y="2180171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330768" y="3227920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330768" y="4275671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6330768" y="5323420"/>
            <a:ext cx="719328" cy="719328"/>
          </a:xfrm>
          <a:prstGeom prst="ellipse">
            <a:avLst/>
          </a:prstGeom>
          <a:solidFill>
            <a:srgbClr val="39C2D7"/>
          </a:solidFill>
        </p:spPr>
        <p:txBody>
          <a:bodyPr vert="horz" lIns="0" rIns="0" anchor="ctr" anchorCtr="0"/>
          <a:lstStyle>
            <a:lvl1pPr marL="0" indent="0" algn="ctr">
              <a:buNone/>
              <a:defRPr sz="26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9223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ale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Please add slide headline her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>
              <a:defRPr lang="en-US" smtClean="0"/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EE86E37-104E-4AC8-979C-19F5930923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5915" y="778899"/>
            <a:ext cx="11219836" cy="27734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2133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749404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331315" y="2492014"/>
            <a:ext cx="5345384" cy="580425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122163" y="2535633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31316" y="2492014"/>
            <a:ext cx="585216" cy="580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331315" y="1707734"/>
            <a:ext cx="5345384" cy="580425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35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1122163" y="1751353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331316" y="1707734"/>
            <a:ext cx="585216" cy="580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331315" y="3258470"/>
            <a:ext cx="5345384" cy="580425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1122163" y="3302089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331316" y="3258470"/>
            <a:ext cx="585216" cy="580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31315" y="4060573"/>
            <a:ext cx="5345384" cy="580425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4" hasCustomPrompt="1"/>
          </p:nvPr>
        </p:nvSpPr>
        <p:spPr>
          <a:xfrm>
            <a:off x="1122163" y="4104192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331316" y="4060573"/>
            <a:ext cx="585216" cy="580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43" name="Rectangle 42"/>
          <p:cNvSpPr/>
          <p:nvPr userDrawn="1"/>
        </p:nvSpPr>
        <p:spPr>
          <a:xfrm>
            <a:off x="331315" y="4827029"/>
            <a:ext cx="5345384" cy="580425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1122163" y="4870648"/>
            <a:ext cx="4470844" cy="493184"/>
          </a:xfrm>
          <a:prstGeom prst="rect">
            <a:avLst/>
          </a:prstGeom>
        </p:spPr>
        <p:txBody>
          <a:bodyPr vert="horz" anchor="ctr"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smtClean="0"/>
            </a:lvl1pPr>
            <a:lvl2pPr marL="457189" indent="0">
              <a:buNone/>
              <a:defRPr sz="1867">
                <a:solidFill>
                  <a:schemeClr val="tx1"/>
                </a:solidFill>
              </a:defRPr>
            </a:lvl2pPr>
            <a:lvl3pPr marL="914377" indent="0">
              <a:buNone/>
              <a:defRPr sz="1867">
                <a:solidFill>
                  <a:schemeClr val="tx1"/>
                </a:solidFill>
              </a:defRPr>
            </a:lvl3pPr>
            <a:lvl4pPr marL="1371566" indent="0">
              <a:buNone/>
              <a:defRPr sz="1867">
                <a:solidFill>
                  <a:schemeClr val="tx1"/>
                </a:solidFill>
              </a:defRPr>
            </a:lvl4pPr>
            <a:lvl5pPr marL="1828754" indent="0">
              <a:buNone/>
              <a:defRPr sz="1867">
                <a:solidFill>
                  <a:schemeClr val="tx1"/>
                </a:solidFill>
              </a:defRPr>
            </a:lvl5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.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331316" y="4827029"/>
            <a:ext cx="585216" cy="5804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53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3175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4" y="939033"/>
            <a:ext cx="4078817" cy="523393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067082" y="939033"/>
            <a:ext cx="4078817" cy="523393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8113186" y="939033"/>
            <a:ext cx="4078817" cy="523393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4064000" y="892852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8128000" y="892852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896983" y="1581702"/>
            <a:ext cx="2255021" cy="531155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4987154" y="1581702"/>
            <a:ext cx="2255021" cy="531155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6" hasCustomPrompt="1"/>
          </p:nvPr>
        </p:nvSpPr>
        <p:spPr>
          <a:xfrm>
            <a:off x="9077323" y="1581702"/>
            <a:ext cx="2255021" cy="531155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ent Logo</a:t>
            </a:r>
          </a:p>
        </p:txBody>
      </p:sp>
      <p:cxnSp>
        <p:nvCxnSpPr>
          <p:cNvPr id="47" name="Straight Connector 46"/>
          <p:cNvCxnSpPr/>
          <p:nvPr userDrawn="1"/>
        </p:nvCxnSpPr>
        <p:spPr>
          <a:xfrm>
            <a:off x="0" y="2232120"/>
            <a:ext cx="1219200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52"/>
          <p:cNvSpPr>
            <a:spLocks noGrp="1"/>
          </p:cNvSpPr>
          <p:nvPr>
            <p:ph type="body" sz="quarter" idx="24"/>
          </p:nvPr>
        </p:nvSpPr>
        <p:spPr>
          <a:xfrm>
            <a:off x="215515" y="2447638"/>
            <a:ext cx="3679152" cy="37859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5" name="Text Placeholder 52"/>
          <p:cNvSpPr>
            <a:spLocks noGrp="1"/>
          </p:cNvSpPr>
          <p:nvPr>
            <p:ph type="body" sz="quarter" idx="25"/>
          </p:nvPr>
        </p:nvSpPr>
        <p:spPr>
          <a:xfrm>
            <a:off x="4297988" y="2481503"/>
            <a:ext cx="3679152" cy="37859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" name="Text Placeholder 52"/>
          <p:cNvSpPr>
            <a:spLocks noGrp="1"/>
          </p:cNvSpPr>
          <p:nvPr>
            <p:ph type="body" sz="quarter" idx="26"/>
          </p:nvPr>
        </p:nvSpPr>
        <p:spPr>
          <a:xfrm>
            <a:off x="8331200" y="2481503"/>
            <a:ext cx="3679152" cy="37859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21090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with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171289" y="1122469"/>
            <a:ext cx="3708016" cy="523395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238368" y="1122469"/>
            <a:ext cx="3708016" cy="523395"/>
          </a:xfrm>
          <a:prstGeom prst="rect">
            <a:avLst/>
          </a:prstGeom>
          <a:solidFill>
            <a:schemeClr val="accent4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8284472" y="1122469"/>
            <a:ext cx="3708016" cy="523395"/>
          </a:xfrm>
          <a:prstGeom prst="rect">
            <a:avLst/>
          </a:prstGeom>
          <a:solidFill>
            <a:schemeClr val="accent6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4064000" y="892852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8128000" y="892852"/>
            <a:ext cx="0" cy="5576455"/>
          </a:xfrm>
          <a:prstGeom prst="line">
            <a:avLst/>
          </a:prstGeom>
          <a:ln w="12700">
            <a:solidFill>
              <a:srgbClr val="E6E6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365760" anchor="ctr" anchorCtr="0">
            <a:no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242620" y="4971141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24"/>
          </p:nvPr>
        </p:nvSpPr>
        <p:spPr>
          <a:xfrm>
            <a:off x="215515" y="1792113"/>
            <a:ext cx="3679152" cy="22239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7" hasCustomPrompt="1"/>
          </p:nvPr>
        </p:nvSpPr>
        <p:spPr>
          <a:xfrm>
            <a:off x="1513556" y="4986194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30" hasCustomPrompt="1"/>
          </p:nvPr>
        </p:nvSpPr>
        <p:spPr>
          <a:xfrm>
            <a:off x="257673" y="5475375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33" hasCustomPrompt="1"/>
          </p:nvPr>
        </p:nvSpPr>
        <p:spPr>
          <a:xfrm>
            <a:off x="1528609" y="549042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36" hasCustomPrompt="1"/>
          </p:nvPr>
        </p:nvSpPr>
        <p:spPr>
          <a:xfrm>
            <a:off x="253912" y="5960795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39" hasCustomPrompt="1"/>
          </p:nvPr>
        </p:nvSpPr>
        <p:spPr>
          <a:xfrm>
            <a:off x="1524848" y="597584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42" hasCustomPrompt="1"/>
          </p:nvPr>
        </p:nvSpPr>
        <p:spPr>
          <a:xfrm>
            <a:off x="2770381" y="4982433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43" hasCustomPrompt="1"/>
          </p:nvPr>
        </p:nvSpPr>
        <p:spPr>
          <a:xfrm>
            <a:off x="2785435" y="5486667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44" hasCustomPrompt="1"/>
          </p:nvPr>
        </p:nvSpPr>
        <p:spPr>
          <a:xfrm>
            <a:off x="2781673" y="5972087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5" hasCustomPrompt="1"/>
          </p:nvPr>
        </p:nvSpPr>
        <p:spPr>
          <a:xfrm>
            <a:off x="254002" y="4171241"/>
            <a:ext cx="3626556" cy="598311"/>
          </a:xfrm>
        </p:spPr>
        <p:txBody>
          <a:bodyPr>
            <a:normAutofit/>
          </a:bodyPr>
          <a:lstStyle>
            <a:lvl1pPr>
              <a:defRPr sz="1600" cap="all" baseline="0">
                <a:latin typeface="Arial Black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46" hasCustomPrompt="1"/>
          </p:nvPr>
        </p:nvSpPr>
        <p:spPr>
          <a:xfrm>
            <a:off x="4284037" y="4976791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6" name="Text Placeholder 52"/>
          <p:cNvSpPr>
            <a:spLocks noGrp="1"/>
          </p:cNvSpPr>
          <p:nvPr>
            <p:ph type="body" sz="quarter" idx="47"/>
          </p:nvPr>
        </p:nvSpPr>
        <p:spPr>
          <a:xfrm>
            <a:off x="4256932" y="1797764"/>
            <a:ext cx="3679152" cy="22239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Picture Placeholder 13"/>
          <p:cNvSpPr>
            <a:spLocks noGrp="1"/>
          </p:cNvSpPr>
          <p:nvPr>
            <p:ph type="pic" sz="quarter" idx="48" hasCustomPrompt="1"/>
          </p:nvPr>
        </p:nvSpPr>
        <p:spPr>
          <a:xfrm>
            <a:off x="5554973" y="4991845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8" name="Picture Placeholder 13"/>
          <p:cNvSpPr>
            <a:spLocks noGrp="1"/>
          </p:cNvSpPr>
          <p:nvPr>
            <p:ph type="pic" sz="quarter" idx="49" hasCustomPrompt="1"/>
          </p:nvPr>
        </p:nvSpPr>
        <p:spPr>
          <a:xfrm>
            <a:off x="4299091" y="5481026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50" hasCustomPrompt="1"/>
          </p:nvPr>
        </p:nvSpPr>
        <p:spPr>
          <a:xfrm>
            <a:off x="5570027" y="549607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51" hasCustomPrompt="1"/>
          </p:nvPr>
        </p:nvSpPr>
        <p:spPr>
          <a:xfrm>
            <a:off x="4295329" y="5966446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1" name="Picture Placeholder 13"/>
          <p:cNvSpPr>
            <a:spLocks noGrp="1"/>
          </p:cNvSpPr>
          <p:nvPr>
            <p:ph type="pic" sz="quarter" idx="52" hasCustomPrompt="1"/>
          </p:nvPr>
        </p:nvSpPr>
        <p:spPr>
          <a:xfrm>
            <a:off x="5566265" y="598149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53" hasCustomPrompt="1"/>
          </p:nvPr>
        </p:nvSpPr>
        <p:spPr>
          <a:xfrm>
            <a:off x="6811799" y="4988083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54" hasCustomPrompt="1"/>
          </p:nvPr>
        </p:nvSpPr>
        <p:spPr>
          <a:xfrm>
            <a:off x="6826852" y="5492318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4" name="Picture Placeholder 13"/>
          <p:cNvSpPr>
            <a:spLocks noGrp="1"/>
          </p:cNvSpPr>
          <p:nvPr>
            <p:ph type="pic" sz="quarter" idx="55" hasCustomPrompt="1"/>
          </p:nvPr>
        </p:nvSpPr>
        <p:spPr>
          <a:xfrm>
            <a:off x="6823091" y="5977738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56" hasCustomPrompt="1"/>
          </p:nvPr>
        </p:nvSpPr>
        <p:spPr>
          <a:xfrm>
            <a:off x="4295419" y="4176891"/>
            <a:ext cx="3626556" cy="598311"/>
          </a:xfrm>
        </p:spPr>
        <p:txBody>
          <a:bodyPr>
            <a:normAutofit/>
          </a:bodyPr>
          <a:lstStyle>
            <a:lvl1pPr>
              <a:defRPr sz="1600" cap="all" baseline="0">
                <a:latin typeface="Arial Black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6" name="Picture Placeholder 13"/>
          <p:cNvSpPr>
            <a:spLocks noGrp="1"/>
          </p:cNvSpPr>
          <p:nvPr>
            <p:ph type="pic" sz="quarter" idx="57" hasCustomPrompt="1"/>
          </p:nvPr>
        </p:nvSpPr>
        <p:spPr>
          <a:xfrm>
            <a:off x="8305704" y="4976791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48" name="Text Placeholder 52"/>
          <p:cNvSpPr>
            <a:spLocks noGrp="1"/>
          </p:cNvSpPr>
          <p:nvPr>
            <p:ph type="body" sz="quarter" idx="58"/>
          </p:nvPr>
        </p:nvSpPr>
        <p:spPr>
          <a:xfrm>
            <a:off x="8278599" y="1797764"/>
            <a:ext cx="3679152" cy="22239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59" hasCustomPrompt="1"/>
          </p:nvPr>
        </p:nvSpPr>
        <p:spPr>
          <a:xfrm>
            <a:off x="9576640" y="4991845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60" hasCustomPrompt="1"/>
          </p:nvPr>
        </p:nvSpPr>
        <p:spPr>
          <a:xfrm>
            <a:off x="8320757" y="5481026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61" hasCustomPrompt="1"/>
          </p:nvPr>
        </p:nvSpPr>
        <p:spPr>
          <a:xfrm>
            <a:off x="9591693" y="549607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2" name="Picture Placeholder 13"/>
          <p:cNvSpPr>
            <a:spLocks noGrp="1"/>
          </p:cNvSpPr>
          <p:nvPr>
            <p:ph type="pic" sz="quarter" idx="62" hasCustomPrompt="1"/>
          </p:nvPr>
        </p:nvSpPr>
        <p:spPr>
          <a:xfrm>
            <a:off x="8316996" y="5966446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63" hasCustomPrompt="1"/>
          </p:nvPr>
        </p:nvSpPr>
        <p:spPr>
          <a:xfrm>
            <a:off x="9587932" y="5981499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64" hasCustomPrompt="1"/>
          </p:nvPr>
        </p:nvSpPr>
        <p:spPr>
          <a:xfrm>
            <a:off x="10833465" y="4988083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65" hasCustomPrompt="1"/>
          </p:nvPr>
        </p:nvSpPr>
        <p:spPr>
          <a:xfrm>
            <a:off x="10848519" y="5492318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66" hasCustomPrompt="1"/>
          </p:nvPr>
        </p:nvSpPr>
        <p:spPr>
          <a:xfrm>
            <a:off x="10844757" y="5977738"/>
            <a:ext cx="1051984" cy="299823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60" name="Text Placeholder 2"/>
          <p:cNvSpPr>
            <a:spLocks noGrp="1"/>
          </p:cNvSpPr>
          <p:nvPr>
            <p:ph type="body" idx="67" hasCustomPrompt="1"/>
          </p:nvPr>
        </p:nvSpPr>
        <p:spPr>
          <a:xfrm>
            <a:off x="8317086" y="4176891"/>
            <a:ext cx="3626556" cy="598311"/>
          </a:xfrm>
        </p:spPr>
        <p:txBody>
          <a:bodyPr>
            <a:normAutofit/>
          </a:bodyPr>
          <a:lstStyle>
            <a:lvl1pPr>
              <a:defRPr sz="1600" cap="all" baseline="0">
                <a:latin typeface="Arial Black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2740109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ox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3037739" y="939031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075476" y="939031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9113213" y="939031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4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15393" y="3559080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053131" y="3559080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6090868" y="3559080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9128605" y="3559080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1" y="939031"/>
            <a:ext cx="3078787" cy="508000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072620" y="948267"/>
            <a:ext cx="0" cy="5531556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6080945" y="948267"/>
            <a:ext cx="0" cy="5531556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9123248" y="932871"/>
            <a:ext cx="0" cy="5531556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78928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Block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893960"/>
            <a:ext cx="3048000" cy="1863757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063395" y="893960"/>
            <a:ext cx="3048000" cy="1863757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154925" y="893960"/>
            <a:ext cx="3048000" cy="1863757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0" y="4624784"/>
            <a:ext cx="3048000" cy="1840992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106925" y="4624784"/>
            <a:ext cx="3048000" cy="1840992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154925" y="4624784"/>
            <a:ext cx="3048000" cy="1840992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63395" y="2774225"/>
            <a:ext cx="3048000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106925" y="2774225"/>
            <a:ext cx="3048000" cy="18288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0" y="2777066"/>
            <a:ext cx="3048000" cy="1842347"/>
          </a:xfrm>
          <a:solidFill>
            <a:schemeClr val="accent6"/>
          </a:solidFill>
        </p:spPr>
        <p:txBody>
          <a:bodyPr anchor="ctr" anchorCtr="0">
            <a:normAutofit/>
          </a:bodyPr>
          <a:lstStyle>
            <a:lvl1pPr algn="ctr">
              <a:defRPr sz="1867" cap="all" baseline="0">
                <a:solidFill>
                  <a:schemeClr val="bg1"/>
                </a:solidFill>
                <a:latin typeface="Arial Black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4" hasCustomPrompt="1"/>
          </p:nvPr>
        </p:nvSpPr>
        <p:spPr>
          <a:xfrm>
            <a:off x="6102351" y="922021"/>
            <a:ext cx="3048000" cy="184234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algn="ctr">
              <a:defRPr sz="1867" cap="all" baseline="0">
                <a:solidFill>
                  <a:schemeClr val="bg1"/>
                </a:solidFill>
                <a:latin typeface="Arial Black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5" hasCustomPrompt="1"/>
          </p:nvPr>
        </p:nvSpPr>
        <p:spPr>
          <a:xfrm>
            <a:off x="3045884" y="4625763"/>
            <a:ext cx="3048000" cy="1840992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algn="ctr">
              <a:defRPr sz="1867" cap="all" baseline="0">
                <a:solidFill>
                  <a:schemeClr val="bg1"/>
                </a:solidFill>
                <a:latin typeface="Arial Black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36" name="Text Placehold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0" y="2769872"/>
            <a:ext cx="3048000" cy="1842347"/>
          </a:xfrm>
          <a:solidFill>
            <a:schemeClr val="accent4"/>
          </a:solidFill>
        </p:spPr>
        <p:txBody>
          <a:bodyPr anchor="ctr" anchorCtr="0">
            <a:normAutofit/>
          </a:bodyPr>
          <a:lstStyle>
            <a:lvl1pPr algn="ctr">
              <a:defRPr sz="1867" cap="all" baseline="0">
                <a:solidFill>
                  <a:schemeClr val="bg1"/>
                </a:solidFill>
                <a:latin typeface="Arial Black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49631389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try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7997399" y="948267"/>
            <a:ext cx="0" cy="5531556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4294472"/>
            <a:ext cx="8001000" cy="0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96333" y="1170519"/>
            <a:ext cx="7493000" cy="2843309"/>
          </a:xfrm>
        </p:spPr>
        <p:txBody>
          <a:bodyPr numCol="2"/>
          <a:lstStyle>
            <a:lvl2pPr marL="304792" marR="0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lvl2pPr>
          </a:lstStyle>
          <a:p>
            <a:pPr lvl="1"/>
            <a:r>
              <a:rPr lang="en-US"/>
              <a:t>Bulleted List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lvl="1"/>
            <a:endParaRPr lang="en-US"/>
          </a:p>
          <a:p>
            <a:pPr lvl="4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212667" y="1157819"/>
            <a:ext cx="3752851" cy="5013441"/>
          </a:xfrm>
        </p:spPr>
        <p:txBody>
          <a:bodyPr/>
          <a:lstStyle>
            <a:lvl1pPr marL="0" indent="0">
              <a:buFont typeface="Arial"/>
              <a:buNone/>
              <a:defRPr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239889" y="4526388"/>
            <a:ext cx="3513667" cy="330968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/>
              <a:t>Clients we serve in this area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263472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7" hasCustomPrompt="1"/>
          </p:nvPr>
        </p:nvSpPr>
        <p:spPr>
          <a:xfrm>
            <a:off x="1779700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42" hasCustomPrompt="1"/>
          </p:nvPr>
        </p:nvSpPr>
        <p:spPr>
          <a:xfrm>
            <a:off x="3295928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46" hasCustomPrompt="1"/>
          </p:nvPr>
        </p:nvSpPr>
        <p:spPr>
          <a:xfrm>
            <a:off x="4812156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48" hasCustomPrompt="1"/>
          </p:nvPr>
        </p:nvSpPr>
        <p:spPr>
          <a:xfrm>
            <a:off x="6328385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49" hasCustomPrompt="1"/>
          </p:nvPr>
        </p:nvSpPr>
        <p:spPr>
          <a:xfrm>
            <a:off x="278532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50" hasCustomPrompt="1"/>
          </p:nvPr>
        </p:nvSpPr>
        <p:spPr>
          <a:xfrm>
            <a:off x="1794760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51" hasCustomPrompt="1"/>
          </p:nvPr>
        </p:nvSpPr>
        <p:spPr>
          <a:xfrm>
            <a:off x="3310988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52" hasCustomPrompt="1"/>
          </p:nvPr>
        </p:nvSpPr>
        <p:spPr>
          <a:xfrm>
            <a:off x="4827216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53" hasCustomPrompt="1"/>
          </p:nvPr>
        </p:nvSpPr>
        <p:spPr>
          <a:xfrm>
            <a:off x="6343445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3365238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try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7997399" y="948267"/>
            <a:ext cx="0" cy="5531556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4294472"/>
            <a:ext cx="8001000" cy="0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8236184" y="1195605"/>
            <a:ext cx="3692408" cy="4950569"/>
          </a:xfrm>
        </p:spPr>
        <p:txBody>
          <a:bodyPr numCol="1"/>
          <a:lstStyle>
            <a:lvl2pPr marL="304792" marR="0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lvl2pPr>
          </a:lstStyle>
          <a:p>
            <a:pPr lvl="1"/>
            <a:r>
              <a:rPr lang="en-US"/>
              <a:t>Bulleted List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lvl="1"/>
            <a:endParaRPr lang="en-US"/>
          </a:p>
          <a:p>
            <a:pPr lvl="4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239889" y="4526388"/>
            <a:ext cx="3513667" cy="330968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/>
              <a:t>Clients we serve in this area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263472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7" hasCustomPrompt="1"/>
          </p:nvPr>
        </p:nvSpPr>
        <p:spPr>
          <a:xfrm>
            <a:off x="1779700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42" hasCustomPrompt="1"/>
          </p:nvPr>
        </p:nvSpPr>
        <p:spPr>
          <a:xfrm>
            <a:off x="3295928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46" hasCustomPrompt="1"/>
          </p:nvPr>
        </p:nvSpPr>
        <p:spPr>
          <a:xfrm>
            <a:off x="4812156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48" hasCustomPrompt="1"/>
          </p:nvPr>
        </p:nvSpPr>
        <p:spPr>
          <a:xfrm>
            <a:off x="6328385" y="512106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49" hasCustomPrompt="1"/>
          </p:nvPr>
        </p:nvSpPr>
        <p:spPr>
          <a:xfrm>
            <a:off x="278532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50" hasCustomPrompt="1"/>
          </p:nvPr>
        </p:nvSpPr>
        <p:spPr>
          <a:xfrm>
            <a:off x="1794760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51" hasCustomPrompt="1"/>
          </p:nvPr>
        </p:nvSpPr>
        <p:spPr>
          <a:xfrm>
            <a:off x="3310988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52" hasCustomPrompt="1"/>
          </p:nvPr>
        </p:nvSpPr>
        <p:spPr>
          <a:xfrm>
            <a:off x="4827216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53" hasCustomPrompt="1"/>
          </p:nvPr>
        </p:nvSpPr>
        <p:spPr>
          <a:xfrm>
            <a:off x="6343445" y="5700545"/>
            <a:ext cx="134112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0" name="Content Placeholder 9"/>
          <p:cNvSpPr>
            <a:spLocks noGrp="1"/>
          </p:cNvSpPr>
          <p:nvPr>
            <p:ph sz="quarter" idx="54" hasCustomPrompt="1"/>
          </p:nvPr>
        </p:nvSpPr>
        <p:spPr>
          <a:xfrm>
            <a:off x="253222" y="1127179"/>
            <a:ext cx="1354673" cy="330968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/>
              <a:t>Key facts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57" hasCustomPrompt="1"/>
          </p:nvPr>
        </p:nvSpPr>
        <p:spPr>
          <a:xfrm>
            <a:off x="6375784" y="2850356"/>
            <a:ext cx="1281731" cy="380267"/>
          </a:xfrm>
        </p:spPr>
        <p:txBody>
          <a:bodyPr anchor="ctr" anchorCtr="0">
            <a:noAutofit/>
          </a:bodyPr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58" hasCustomPrompt="1"/>
          </p:nvPr>
        </p:nvSpPr>
        <p:spPr>
          <a:xfrm>
            <a:off x="477496" y="1806983"/>
            <a:ext cx="935181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Picture Placeholder 34"/>
          <p:cNvSpPr>
            <a:spLocks noGrp="1"/>
          </p:cNvSpPr>
          <p:nvPr>
            <p:ph type="pic" sz="quarter" idx="59" hasCustomPrompt="1"/>
          </p:nvPr>
        </p:nvSpPr>
        <p:spPr>
          <a:xfrm>
            <a:off x="3513518" y="1806983"/>
            <a:ext cx="935181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7" name="Picture Placeholder 34"/>
          <p:cNvSpPr>
            <a:spLocks noGrp="1"/>
          </p:cNvSpPr>
          <p:nvPr>
            <p:ph type="pic" sz="quarter" idx="60" hasCustomPrompt="1"/>
          </p:nvPr>
        </p:nvSpPr>
        <p:spPr>
          <a:xfrm>
            <a:off x="5031530" y="1806983"/>
            <a:ext cx="935181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Picture Placeholder 34"/>
          <p:cNvSpPr>
            <a:spLocks noGrp="1"/>
          </p:cNvSpPr>
          <p:nvPr>
            <p:ph type="pic" sz="quarter" idx="61" hasCustomPrompt="1"/>
          </p:nvPr>
        </p:nvSpPr>
        <p:spPr>
          <a:xfrm>
            <a:off x="6549542" y="1806983"/>
            <a:ext cx="935181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6373615" y="3246959"/>
            <a:ext cx="1283357" cy="715436"/>
          </a:xfrm>
        </p:spPr>
        <p:txBody>
          <a:bodyPr lIns="91440" rIns="91440">
            <a:noAutofit/>
          </a:bodyPr>
          <a:lstStyle>
            <a:lvl1pPr algn="ctr">
              <a:defRPr sz="1333"/>
            </a:lvl1pPr>
          </a:lstStyle>
          <a:p>
            <a:pPr lvl="0"/>
            <a:r>
              <a:rPr lang="en-US"/>
              <a:t>Smaller text</a:t>
            </a:r>
          </a:p>
        </p:txBody>
      </p:sp>
      <p:sp>
        <p:nvSpPr>
          <p:cNvPr id="41" name="Picture Placeholder 34"/>
          <p:cNvSpPr>
            <a:spLocks noGrp="1"/>
          </p:cNvSpPr>
          <p:nvPr>
            <p:ph type="pic" sz="quarter" idx="66" hasCustomPrompt="1"/>
          </p:nvPr>
        </p:nvSpPr>
        <p:spPr>
          <a:xfrm>
            <a:off x="1995507" y="1806983"/>
            <a:ext cx="935181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67" hasCustomPrompt="1"/>
          </p:nvPr>
        </p:nvSpPr>
        <p:spPr>
          <a:xfrm>
            <a:off x="4840495" y="2850356"/>
            <a:ext cx="1281731" cy="380267"/>
          </a:xfrm>
        </p:spPr>
        <p:txBody>
          <a:bodyPr anchor="ctr" anchorCtr="0">
            <a:noAutofit/>
          </a:bodyPr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68" hasCustomPrompt="1"/>
          </p:nvPr>
        </p:nvSpPr>
        <p:spPr>
          <a:xfrm>
            <a:off x="4838326" y="3246959"/>
            <a:ext cx="1283357" cy="715436"/>
          </a:xfrm>
        </p:spPr>
        <p:txBody>
          <a:bodyPr lIns="91440" rIns="91440">
            <a:noAutofit/>
          </a:bodyPr>
          <a:lstStyle>
            <a:lvl1pPr algn="ctr">
              <a:defRPr sz="1333"/>
            </a:lvl1pPr>
          </a:lstStyle>
          <a:p>
            <a:pPr lvl="0"/>
            <a:r>
              <a:rPr lang="en-US"/>
              <a:t>Smaller text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69" hasCustomPrompt="1"/>
          </p:nvPr>
        </p:nvSpPr>
        <p:spPr>
          <a:xfrm>
            <a:off x="3339072" y="2850356"/>
            <a:ext cx="1281731" cy="380267"/>
          </a:xfrm>
        </p:spPr>
        <p:txBody>
          <a:bodyPr anchor="ctr" anchorCtr="0">
            <a:noAutofit/>
          </a:bodyPr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3336903" y="3246959"/>
            <a:ext cx="1283357" cy="715436"/>
          </a:xfrm>
        </p:spPr>
        <p:txBody>
          <a:bodyPr lIns="91440" rIns="91440">
            <a:noAutofit/>
          </a:bodyPr>
          <a:lstStyle>
            <a:lvl1pPr algn="ctr">
              <a:defRPr sz="1333"/>
            </a:lvl1pPr>
          </a:lstStyle>
          <a:p>
            <a:pPr lvl="0"/>
            <a:r>
              <a:rPr lang="en-US"/>
              <a:t>Smaller text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71" hasCustomPrompt="1"/>
          </p:nvPr>
        </p:nvSpPr>
        <p:spPr>
          <a:xfrm>
            <a:off x="1826361" y="2850356"/>
            <a:ext cx="1281731" cy="380267"/>
          </a:xfrm>
        </p:spPr>
        <p:txBody>
          <a:bodyPr anchor="ctr" anchorCtr="0">
            <a:noAutofit/>
          </a:bodyPr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1824192" y="3246959"/>
            <a:ext cx="1283357" cy="715436"/>
          </a:xfrm>
        </p:spPr>
        <p:txBody>
          <a:bodyPr lIns="91440" rIns="91440">
            <a:noAutofit/>
          </a:bodyPr>
          <a:lstStyle>
            <a:lvl1pPr algn="ctr">
              <a:defRPr sz="1333"/>
            </a:lvl1pPr>
          </a:lstStyle>
          <a:p>
            <a:pPr lvl="0"/>
            <a:r>
              <a:rPr lang="en-US"/>
              <a:t>Smaller text</a:t>
            </a:r>
          </a:p>
        </p:txBody>
      </p:sp>
      <p:sp>
        <p:nvSpPr>
          <p:cNvPr id="46" name="Text Placeholder 12"/>
          <p:cNvSpPr>
            <a:spLocks noGrp="1"/>
          </p:cNvSpPr>
          <p:nvPr>
            <p:ph type="body" sz="quarter" idx="73" hasCustomPrompt="1"/>
          </p:nvPr>
        </p:nvSpPr>
        <p:spPr>
          <a:xfrm>
            <a:off x="302361" y="2850356"/>
            <a:ext cx="1281731" cy="380267"/>
          </a:xfrm>
        </p:spPr>
        <p:txBody>
          <a:bodyPr anchor="ctr" anchorCtr="0">
            <a:noAutofit/>
          </a:bodyPr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74" hasCustomPrompt="1"/>
          </p:nvPr>
        </p:nvSpPr>
        <p:spPr>
          <a:xfrm>
            <a:off x="300192" y="3246959"/>
            <a:ext cx="1283357" cy="715436"/>
          </a:xfrm>
        </p:spPr>
        <p:txBody>
          <a:bodyPr lIns="91440" rIns="91440">
            <a:noAutofit/>
          </a:bodyPr>
          <a:lstStyle>
            <a:lvl1pPr algn="ctr">
              <a:defRPr sz="1333"/>
            </a:lvl1pPr>
          </a:lstStyle>
          <a:p>
            <a:pPr lvl="0"/>
            <a:r>
              <a:rPr lang="en-US"/>
              <a:t>Smaller text</a:t>
            </a:r>
          </a:p>
        </p:txBody>
      </p:sp>
    </p:spTree>
    <p:extLst>
      <p:ext uri="{BB962C8B-B14F-4D97-AF65-F5344CB8AC3E}">
        <p14:creationId xmlns:p14="http://schemas.microsoft.com/office/powerpoint/2010/main" val="17838635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y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6090833" y="722497"/>
            <a:ext cx="30257" cy="4834155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0" y="3637538"/>
            <a:ext cx="12192000" cy="4695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497386" y="1195606"/>
            <a:ext cx="5431209" cy="2140889"/>
          </a:xfrm>
        </p:spPr>
        <p:txBody>
          <a:bodyPr numCol="1"/>
          <a:lstStyle>
            <a:lvl2pPr marL="304792" marR="0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lvl2pPr>
          </a:lstStyle>
          <a:p>
            <a:pPr lvl="1"/>
            <a:r>
              <a:rPr lang="en-US"/>
              <a:t>Bulleted List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lvl="1"/>
            <a:endParaRPr lang="en-US"/>
          </a:p>
          <a:p>
            <a:pPr lvl="4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1175929" y="2614764"/>
            <a:ext cx="1668924" cy="845264"/>
          </a:xfrm>
        </p:spPr>
        <p:txBody>
          <a:bodyPr/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Fact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252432" y="3798889"/>
            <a:ext cx="3513667" cy="330968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/>
              <a:t>Clients we serve in this area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249176" y="431831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7" hasCustomPrompt="1"/>
          </p:nvPr>
        </p:nvSpPr>
        <p:spPr>
          <a:xfrm>
            <a:off x="1727776" y="431831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42" hasCustomPrompt="1"/>
          </p:nvPr>
        </p:nvSpPr>
        <p:spPr>
          <a:xfrm>
            <a:off x="3206376" y="431831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46" hasCustomPrompt="1"/>
          </p:nvPr>
        </p:nvSpPr>
        <p:spPr>
          <a:xfrm>
            <a:off x="4684976" y="431831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49" hasCustomPrompt="1"/>
          </p:nvPr>
        </p:nvSpPr>
        <p:spPr>
          <a:xfrm>
            <a:off x="264236" y="489779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50" hasCustomPrompt="1"/>
          </p:nvPr>
        </p:nvSpPr>
        <p:spPr>
          <a:xfrm>
            <a:off x="1742836" y="489779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51" hasCustomPrompt="1"/>
          </p:nvPr>
        </p:nvSpPr>
        <p:spPr>
          <a:xfrm>
            <a:off x="3221436" y="489779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52" hasCustomPrompt="1"/>
          </p:nvPr>
        </p:nvSpPr>
        <p:spPr>
          <a:xfrm>
            <a:off x="4700036" y="4897792"/>
            <a:ext cx="1219200" cy="43897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1067"/>
            </a:lvl1pPr>
          </a:lstStyle>
          <a:p>
            <a:r>
              <a:rPr lang="en-US"/>
              <a:t>Client Logo</a:t>
            </a:r>
          </a:p>
        </p:txBody>
      </p:sp>
      <p:sp>
        <p:nvSpPr>
          <p:cNvPr id="30" name="Content Placeholder 9"/>
          <p:cNvSpPr>
            <a:spLocks noGrp="1"/>
          </p:cNvSpPr>
          <p:nvPr>
            <p:ph sz="quarter" idx="54" hasCustomPrompt="1"/>
          </p:nvPr>
        </p:nvSpPr>
        <p:spPr>
          <a:xfrm>
            <a:off x="253222" y="1127179"/>
            <a:ext cx="1354673" cy="330968"/>
          </a:xfrm>
          <a:prstGeom prst="rect">
            <a:avLst/>
          </a:prstGeom>
          <a:solidFill>
            <a:schemeClr val="accent2"/>
          </a:solidFill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333" b="0" i="0" cap="all" baseline="0">
                <a:solidFill>
                  <a:schemeClr val="bg1"/>
                </a:solidFill>
                <a:latin typeface="Arial Black"/>
              </a:defRPr>
            </a:lvl1pPr>
            <a:lvl2pPr marL="457189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2pPr>
            <a:lvl3pPr marL="914377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3pPr>
            <a:lvl4pPr marL="1371566" indent="0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4pPr>
            <a:lvl5pPr marL="1828754" indent="0" algn="ctr">
              <a:buFontTx/>
              <a:buNone/>
              <a:defRPr sz="1600" b="0" i="0" cap="all"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en-US"/>
              <a:t>Key facts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55" hasCustomPrompt="1"/>
          </p:nvPr>
        </p:nvSpPr>
        <p:spPr>
          <a:xfrm>
            <a:off x="3107583" y="2614764"/>
            <a:ext cx="1668924" cy="845264"/>
          </a:xfrm>
        </p:spPr>
        <p:txBody>
          <a:bodyPr/>
          <a:lstStyle>
            <a:lvl1pPr marL="0" indent="0" algn="ctr">
              <a:buFont typeface="Arial"/>
              <a:buNone/>
              <a:defRPr sz="2133" b="1" cap="all">
                <a:solidFill>
                  <a:schemeClr val="accent2"/>
                </a:solidFill>
                <a:latin typeface="Arial Black"/>
                <a:cs typeface="Arial Black"/>
              </a:defRPr>
            </a:lvl1pPr>
            <a:lvl2pPr marL="0" indent="0" algn="ctr">
              <a:buNone/>
              <a:defRPr baseline="0"/>
            </a:lvl2pPr>
            <a:lvl3pPr marL="304792" indent="0">
              <a:buNone/>
              <a:defRPr/>
            </a:lvl3pPr>
            <a:lvl4pPr marL="637016" indent="0">
              <a:buNone/>
              <a:defRPr/>
            </a:lvl4pPr>
            <a:lvl5pPr marL="856467" indent="0">
              <a:buNone/>
              <a:defRPr/>
            </a:lvl5pPr>
          </a:lstStyle>
          <a:p>
            <a:pPr lvl="0"/>
            <a:r>
              <a:rPr lang="en-US"/>
              <a:t>Fact</a:t>
            </a:r>
          </a:p>
          <a:p>
            <a:pPr lvl="1"/>
            <a:r>
              <a:rPr lang="en-US"/>
              <a:t>Body text</a:t>
            </a:r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58" hasCustomPrompt="1"/>
          </p:nvPr>
        </p:nvSpPr>
        <p:spPr>
          <a:xfrm>
            <a:off x="214545" y="5783187"/>
            <a:ext cx="1265556" cy="500964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Logo</a:t>
            </a:r>
          </a:p>
        </p:txBody>
      </p:sp>
      <p:sp>
        <p:nvSpPr>
          <p:cNvPr id="36" name="Picture Placeholder 34"/>
          <p:cNvSpPr>
            <a:spLocks noGrp="1"/>
          </p:cNvSpPr>
          <p:nvPr>
            <p:ph type="pic" sz="quarter" idx="59" hasCustomPrompt="1"/>
          </p:nvPr>
        </p:nvSpPr>
        <p:spPr>
          <a:xfrm>
            <a:off x="3513407" y="1568668"/>
            <a:ext cx="850165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  <p:sp>
        <p:nvSpPr>
          <p:cNvPr id="40" name="Text Placeholder 10"/>
          <p:cNvSpPr>
            <a:spLocks noGrp="1"/>
          </p:cNvSpPr>
          <p:nvPr>
            <p:ph type="body" sz="quarter" idx="60" hasCustomPrompt="1"/>
          </p:nvPr>
        </p:nvSpPr>
        <p:spPr>
          <a:xfrm>
            <a:off x="6509929" y="3779516"/>
            <a:ext cx="5431209" cy="1614075"/>
          </a:xfrm>
        </p:spPr>
        <p:txBody>
          <a:bodyPr numCol="2">
            <a:normAutofit/>
          </a:bodyPr>
          <a:lstStyle>
            <a:lvl2pPr marL="304792" marR="0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Tx/>
              <a:buBlip>
                <a:blip r:embed="rId2"/>
              </a:buBlip>
              <a:tabLst/>
              <a:defRPr sz="1333"/>
            </a:lvl2pPr>
            <a:lvl3pPr marL="609585" indent="-304792">
              <a:buSzPct val="120000"/>
              <a:buFontTx/>
              <a:buBlip>
                <a:blip r:embed="rId2"/>
              </a:buBlip>
              <a:defRPr sz="1333"/>
            </a:lvl3pPr>
            <a:lvl4pPr marL="865610" indent="-228594">
              <a:buSzPct val="120000"/>
              <a:buFontTx/>
              <a:buBlip>
                <a:blip r:embed="rId2"/>
              </a:buBlip>
              <a:defRPr sz="1333"/>
            </a:lvl4pPr>
            <a:lvl5pPr marL="1085061" indent="-228594">
              <a:buSzPct val="120000"/>
              <a:buFontTx/>
              <a:buBlip>
                <a:blip r:embed="rId2"/>
              </a:buBlip>
              <a:defRPr sz="1333"/>
            </a:lvl5pPr>
          </a:lstStyle>
          <a:p>
            <a:pPr lvl="1"/>
            <a:r>
              <a:rPr lang="en-US"/>
              <a:t>Bulleted List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marL="304792" marR="0" lvl="1" indent="-3047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>
                <a:schemeClr val="accent2"/>
              </a:buClr>
              <a:buSzPct val="120000"/>
              <a:buFont typeface="Arial"/>
              <a:buChar char="•"/>
              <a:tabLst/>
              <a:defRPr/>
            </a:pPr>
            <a:r>
              <a:rPr lang="en-US"/>
              <a:t>Bulleted List</a:t>
            </a:r>
          </a:p>
          <a:p>
            <a:pPr lvl="1"/>
            <a:endParaRPr lang="en-US"/>
          </a:p>
          <a:p>
            <a:pPr lvl="4"/>
            <a:endParaRPr lang="en-US"/>
          </a:p>
        </p:txBody>
      </p:sp>
      <p:cxnSp>
        <p:nvCxnSpPr>
          <p:cNvPr id="41" name="Straight Connector 40"/>
          <p:cNvCxnSpPr/>
          <p:nvPr userDrawn="1"/>
        </p:nvCxnSpPr>
        <p:spPr>
          <a:xfrm flipV="1">
            <a:off x="0" y="5569197"/>
            <a:ext cx="12192000" cy="4695"/>
          </a:xfrm>
          <a:prstGeom prst="line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932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5" dist="25400" dir="5400000" algn="t" rotWithShape="0">
              <a:prstClr val="black">
                <a:alpha val="30000"/>
              </a:prstClr>
            </a:outerShdw>
          </a:effectLst>
        </p:spPr>
        <p:txBody>
          <a:bodyPr lIns="274320" tIns="34290" rIns="68580" bIns="34290" anchor="ctr" anchorCtr="0">
            <a:normAutofit/>
          </a:bodyPr>
          <a:lstStyle>
            <a:lvl1pPr marL="0" indent="0">
              <a:buNone/>
              <a:defRPr sz="2667" cap="all" baseline="0">
                <a:latin typeface="Arial Black"/>
                <a:cs typeface="Arial Black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61"/>
          </p:nvPr>
        </p:nvSpPr>
        <p:spPr>
          <a:xfrm>
            <a:off x="1730963" y="5781404"/>
            <a:ext cx="10209155" cy="514349"/>
          </a:xfrm>
        </p:spPr>
        <p:txBody>
          <a:bodyPr/>
          <a:lstStyle>
            <a:lvl1pPr>
              <a:defRPr cap="all">
                <a:latin typeface="Arial Black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34"/>
          <p:cNvSpPr>
            <a:spLocks noGrp="1"/>
          </p:cNvSpPr>
          <p:nvPr>
            <p:ph type="pic" sz="quarter" idx="62" hasCustomPrompt="1"/>
          </p:nvPr>
        </p:nvSpPr>
        <p:spPr>
          <a:xfrm>
            <a:off x="1581754" y="1568668"/>
            <a:ext cx="850165" cy="850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41396089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563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A2168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66801"/>
            <a:ext cx="10972800" cy="5059363"/>
          </a:xfrm>
          <a:prstGeom prst="rect">
            <a:avLst/>
          </a:prstGeom>
        </p:spPr>
        <p:txBody>
          <a:bodyPr/>
          <a:lstStyle>
            <a:lvl1pPr>
              <a:defRPr sz="2000" b="1" i="0">
                <a:latin typeface=""/>
              </a:defRPr>
            </a:lvl1pPr>
            <a:lvl2pPr>
              <a:defRPr sz="1800">
                <a:latin typeface=""/>
              </a:defRPr>
            </a:lvl2pPr>
            <a:lvl3pPr>
              <a:defRPr sz="1600">
                <a:latin typeface=""/>
              </a:defRPr>
            </a:lvl3pPr>
            <a:lvl4pPr>
              <a:defRPr sz="1400">
                <a:latin typeface="Arial Unicode M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en-US" sz="1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377"/>
            <a:endParaRPr lang="en-US" sz="19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1995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Insert Case Study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4660" y="227885"/>
            <a:ext cx="11116669" cy="724867"/>
          </a:xfrm>
          <a:prstGeom prst="rect">
            <a:avLst/>
          </a:prstGeom>
        </p:spPr>
        <p:txBody>
          <a:bodyPr lIns="68577" tIns="34289" rIns="68577" bIns="34289"/>
          <a:lstStyle>
            <a:lvl1pPr>
              <a:defRPr sz="2133" baseline="0"/>
            </a:lvl1pPr>
          </a:lstStyle>
          <a:p>
            <a:r>
              <a:rPr lang="en-US"/>
              <a:t>Client nam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49741"/>
            <a:ext cx="12192000" cy="5082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457167"/>
            <a:endParaRPr lang="en-US" sz="253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161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7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image" Target="../media/image8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80486" y="300785"/>
            <a:ext cx="11235265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Please add slide headline here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FD31D0D5-85D1-4212-977C-BDE0519F2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4588" y="6435519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1200" b="0" i="0">
                <a:solidFill>
                  <a:srgbClr val="474648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75DCCA-8D50-4444-96D5-61FB20C63FB0}"/>
              </a:ext>
            </a:extLst>
          </p:cNvPr>
          <p:cNvSpPr txBox="1"/>
          <p:nvPr userDrawn="1"/>
        </p:nvSpPr>
        <p:spPr>
          <a:xfrm>
            <a:off x="1250280" y="6547080"/>
            <a:ext cx="176216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marL="0" marR="0" lvl="0" indent="0" algn="l" defTabSz="4567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 dirty="0">
                <a:solidFill>
                  <a:srgbClr val="474648"/>
                </a:solidFill>
                <a:cs typeface="Trebuchet MS"/>
              </a:rPr>
              <a:t>CONFIDENTIAL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1</a:t>
            </a:r>
            <a:endParaRPr lang="en-US" sz="800" kern="0" spc="20" dirty="0">
              <a:solidFill>
                <a:srgbClr val="474648"/>
              </a:solidFill>
              <a:cs typeface="Trebuchet M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85780B-226B-4A38-AFF3-E0B74E309CC9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rgbClr val="47464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7618809-B596-42D8-86B4-C163D47D09FA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872A7-07EE-484E-86AC-1C5DE9E0C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485" y="1439333"/>
            <a:ext cx="11235257" cy="4885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96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  <p:sldLayoutId id="2147484512" r:id="rId6"/>
    <p:sldLayoutId id="2147484513" r:id="rId7"/>
    <p:sldLayoutId id="2147484514" r:id="rId8"/>
    <p:sldLayoutId id="2147484515" r:id="rId9"/>
    <p:sldLayoutId id="2147484516" r:id="rId10"/>
    <p:sldLayoutId id="2147484517" r:id="rId11"/>
    <p:sldLayoutId id="2147484518" r:id="rId12"/>
    <p:sldLayoutId id="2147484519" r:id="rId13"/>
    <p:sldLayoutId id="2147484520" r:id="rId14"/>
    <p:sldLayoutId id="2147484521" r:id="rId15"/>
    <p:sldLayoutId id="2147484522" r:id="rId16"/>
    <p:sldLayoutId id="2147484523" r:id="rId17"/>
    <p:sldLayoutId id="2147484524" r:id="rId18"/>
    <p:sldLayoutId id="2147484525" r:id="rId19"/>
    <p:sldLayoutId id="2147484526" r:id="rId20"/>
    <p:sldLayoutId id="2147484527" r:id="rId21"/>
    <p:sldLayoutId id="2147484528" r:id="rId22"/>
    <p:sldLayoutId id="2147484529" r:id="rId23"/>
    <p:sldLayoutId id="2147484530" r:id="rId24"/>
    <p:sldLayoutId id="2147484531" r:id="rId25"/>
    <p:sldLayoutId id="2147484532" r:id="rId26"/>
    <p:sldLayoutId id="2147484533" r:id="rId27"/>
    <p:sldLayoutId id="2147484534" r:id="rId28"/>
    <p:sldLayoutId id="2147484535" r:id="rId29"/>
    <p:sldLayoutId id="2147484536" r:id="rId30"/>
    <p:sldLayoutId id="2147484540" r:id="rId31"/>
    <p:sldLayoutId id="2147484678" r:id="rId32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667" b="0" kern="1200" cap="none" spc="133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ts val="2133"/>
        </a:lnSpc>
        <a:spcBef>
          <a:spcPts val="352"/>
        </a:spcBef>
        <a:spcAft>
          <a:spcPts val="400"/>
        </a:spcAft>
        <a:buFont typeface="Arial" panose="020B0604020202020204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243834" indent="-243834" algn="l" defTabSz="121917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447764" indent="-228594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2209745" indent="-38099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orient="horz" pos="338">
          <p15:clr>
            <a:srgbClr val="F26B43"/>
          </p15:clr>
        </p15:guide>
        <p15:guide id="3" orient="horz" pos="680">
          <p15:clr>
            <a:srgbClr val="F26B43"/>
          </p15:clr>
        </p15:guide>
        <p15:guide id="5" pos="226">
          <p15:clr>
            <a:srgbClr val="F26B43"/>
          </p15:clr>
        </p15:guide>
        <p15:guide id="6" pos="5535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2736">
          <p15:clr>
            <a:srgbClr val="F26B43"/>
          </p15:clr>
        </p15:guide>
        <p15:guide id="9" pos="3024">
          <p15:clr>
            <a:srgbClr val="F26B43"/>
          </p15:clr>
        </p15:guide>
        <p15:guide id="10" orient="horz" pos="2988">
          <p15:clr>
            <a:srgbClr val="F26B43"/>
          </p15:clr>
        </p15:guide>
        <p15:guide id="11" orient="horz" pos="3084">
          <p15:clr>
            <a:srgbClr val="F26B43"/>
          </p15:clr>
        </p15:guide>
        <p15:guide id="12" orient="horz" pos="3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80490" y="300787"/>
            <a:ext cx="11235265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Please add slide headline here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FD31D0D5-85D1-4212-977C-BDE0519F2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84590" y="6435520"/>
            <a:ext cx="1831163" cy="422483"/>
          </a:xfrm>
          <a:prstGeom prst="rect">
            <a:avLst/>
          </a:prstGeom>
        </p:spPr>
        <p:txBody>
          <a:bodyPr vert="horz" wrap="none" lIns="91440" tIns="45720" rIns="0" bIns="82296" rtlCol="0" anchor="ctr"/>
          <a:lstStyle>
            <a:lvl1pPr algn="r">
              <a:defRPr sz="1200" b="0" i="0">
                <a:solidFill>
                  <a:srgbClr val="474648"/>
                </a:solidFill>
                <a:latin typeface="+mj-lt"/>
              </a:defRPr>
            </a:lvl1pPr>
          </a:lstStyle>
          <a:p>
            <a:fld id="{3A707DD9-E92B-45E8-BE0A-E6B2EDF345E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75DCCA-8D50-4444-96D5-61FB20C63FB0}"/>
              </a:ext>
            </a:extLst>
          </p:cNvPr>
          <p:cNvSpPr txBox="1"/>
          <p:nvPr userDrawn="1"/>
        </p:nvSpPr>
        <p:spPr>
          <a:xfrm>
            <a:off x="1250280" y="6547083"/>
            <a:ext cx="1762160" cy="215442"/>
          </a:xfrm>
          <a:prstGeom prst="rect">
            <a:avLst/>
          </a:prstGeom>
          <a:noFill/>
        </p:spPr>
        <p:txBody>
          <a:bodyPr wrap="square" lIns="91369" tIns="45719" rIns="91369" bIns="45719" rtlCol="0">
            <a:spAutoFit/>
          </a:bodyPr>
          <a:lstStyle/>
          <a:p>
            <a:pPr marL="0" marR="0" lvl="0" indent="0" algn="l" defTabSz="4566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spc="20">
                <a:solidFill>
                  <a:srgbClr val="474648"/>
                </a:solidFill>
                <a:cs typeface="Trebuchet MS"/>
              </a:rPr>
              <a:t>CONFIDENTIAL. </a:t>
            </a:r>
            <a:r>
              <a:rPr lang="en-US" sz="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19</a:t>
            </a:r>
            <a:endParaRPr lang="en-US" sz="800" kern="0" spc="20">
              <a:solidFill>
                <a:srgbClr val="474648"/>
              </a:solidFill>
              <a:cs typeface="Trebuchet M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85780B-226B-4A38-AFF3-E0B74E309CC9}"/>
              </a:ext>
            </a:extLst>
          </p:cNvPr>
          <p:cNvCxnSpPr/>
          <p:nvPr userDrawn="1"/>
        </p:nvCxnSpPr>
        <p:spPr>
          <a:xfrm>
            <a:off x="1246892" y="6562344"/>
            <a:ext cx="0" cy="164592"/>
          </a:xfrm>
          <a:prstGeom prst="line">
            <a:avLst/>
          </a:prstGeom>
          <a:ln w="3175" cmpd="sng">
            <a:solidFill>
              <a:srgbClr val="47464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7618809-B596-42D8-86B4-C163D47D09FA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69" y="6498425"/>
            <a:ext cx="702720" cy="35195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872A7-07EE-484E-86AC-1C5DE9E0C7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487" y="1439333"/>
            <a:ext cx="11235257" cy="4885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87718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676" r:id="rId29"/>
  </p:sldLayoutIdLst>
  <p:hf hdr="0" ftr="0" dt="0"/>
  <p:txStyles>
    <p:titleStyle>
      <a:lvl1pPr algn="l" defTabSz="1219111" rtl="0" eaLnBrk="1" latinLnBrk="0" hangingPunct="1">
        <a:lnSpc>
          <a:spcPct val="100000"/>
        </a:lnSpc>
        <a:spcBef>
          <a:spcPct val="0"/>
        </a:spcBef>
        <a:buNone/>
        <a:defRPr sz="2667" b="0" kern="1200" cap="none" spc="133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11" rtl="0" eaLnBrk="1" latinLnBrk="0" hangingPunct="1">
        <a:lnSpc>
          <a:spcPts val="2133"/>
        </a:lnSpc>
        <a:spcBef>
          <a:spcPts val="352"/>
        </a:spcBef>
        <a:spcAft>
          <a:spcPts val="400"/>
        </a:spcAft>
        <a:buFont typeface="Arial" panose="020B0604020202020204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243822" indent="-243822" algn="l" defTabSz="1219111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447692" indent="-228584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2209635" indent="-380972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indent="0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8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8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8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8" algn="l" defTabSz="1219111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1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6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orient="horz" pos="339">
          <p15:clr>
            <a:srgbClr val="F26B43"/>
          </p15:clr>
        </p15:guide>
        <p15:guide id="3" orient="horz" pos="680">
          <p15:clr>
            <a:srgbClr val="F26B43"/>
          </p15:clr>
        </p15:guide>
        <p15:guide id="5" pos="227">
          <p15:clr>
            <a:srgbClr val="F26B43"/>
          </p15:clr>
        </p15:guide>
        <p15:guide id="6" pos="5535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2736">
          <p15:clr>
            <a:srgbClr val="F26B43"/>
          </p15:clr>
        </p15:guide>
        <p15:guide id="9" pos="3024">
          <p15:clr>
            <a:srgbClr val="F26B43"/>
          </p15:clr>
        </p15:guide>
        <p15:guide id="10" orient="horz" pos="2988">
          <p15:clr>
            <a:srgbClr val="F26B43"/>
          </p15:clr>
        </p15:guide>
        <p15:guide id="11" orient="horz" pos="3084">
          <p15:clr>
            <a:srgbClr val="F26B43"/>
          </p15:clr>
        </p15:guide>
        <p15:guide id="12" orient="horz" pos="31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 userDrawn="1"/>
        </p:nvSpPr>
        <p:spPr>
          <a:xfrm>
            <a:off x="9894817" y="6533393"/>
            <a:ext cx="1991360" cy="261608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algn="r" defTabSz="456711"/>
            <a:fld id="{C2C0EDAD-27A0-9447-9004-E733B36B95C3}" type="slidenum">
              <a:rPr lang="en-US" sz="1100" smtClean="0">
                <a:solidFill>
                  <a:srgbClr val="CCCCCC"/>
                </a:solidFill>
                <a:cs typeface="Trebuchet MS"/>
              </a:rPr>
              <a:pPr algn="r" defTabSz="456711"/>
              <a:t>‹#›</a:t>
            </a:fld>
            <a:endParaRPr lang="en-US" sz="1100">
              <a:solidFill>
                <a:srgbClr val="CCCCCC"/>
              </a:solidFill>
              <a:cs typeface="Trebuchet MS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74079" y="6562319"/>
            <a:ext cx="3088640" cy="215442"/>
          </a:xfrm>
          <a:prstGeom prst="rect">
            <a:avLst/>
          </a:prstGeom>
          <a:noFill/>
        </p:spPr>
        <p:txBody>
          <a:bodyPr wrap="square" lIns="91368" tIns="45719" rIns="91368" bIns="45719" rtlCol="0">
            <a:spAutoFit/>
          </a:bodyPr>
          <a:lstStyle/>
          <a:p>
            <a:pPr defTabSz="456711"/>
            <a:r>
              <a:rPr lang="en-US" sz="800" kern="0" spc="20">
                <a:solidFill>
                  <a:schemeClr val="accent1"/>
                </a:solidFill>
                <a:cs typeface="Trebuchet MS"/>
              </a:rPr>
              <a:t>CONFIDENTIA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1084332" y="6587744"/>
            <a:ext cx="0" cy="164592"/>
          </a:xfrm>
          <a:prstGeom prst="line">
            <a:avLst/>
          </a:prstGeom>
          <a:ln w="317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219200"/>
          </a:xfrm>
          <a:prstGeom prst="rect">
            <a:avLst/>
          </a:prstGeom>
        </p:spPr>
        <p:txBody>
          <a:bodyPr vert="horz" lIns="27432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2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579" y="6577641"/>
            <a:ext cx="571868" cy="2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2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9" r:id="rId1"/>
    <p:sldLayoutId id="2147484620" r:id="rId2"/>
    <p:sldLayoutId id="2147484621" r:id="rId3"/>
    <p:sldLayoutId id="2147484622" r:id="rId4"/>
    <p:sldLayoutId id="2147484623" r:id="rId5"/>
    <p:sldLayoutId id="2147484624" r:id="rId6"/>
    <p:sldLayoutId id="2147484625" r:id="rId7"/>
    <p:sldLayoutId id="2147484626" r:id="rId8"/>
    <p:sldLayoutId id="2147484627" r:id="rId9"/>
    <p:sldLayoutId id="2147484628" r:id="rId10"/>
  </p:sldLayoutIdLst>
  <p:hf hdr="0" ftr="0" dt="0"/>
  <p:txStyles>
    <p:titleStyle>
      <a:lvl1pPr algn="l" defTabSz="457131" rtl="0" eaLnBrk="1" latinLnBrk="0" hangingPunct="1"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Arial Black"/>
        </a:defRPr>
      </a:lvl1pPr>
    </p:titleStyle>
    <p:bodyStyle>
      <a:lvl1pPr marL="342850" indent="-342850" algn="l" defTabSz="457131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1"/>
          </a:solidFill>
          <a:latin typeface="Trebuchet MS"/>
          <a:ea typeface="+mn-ea"/>
          <a:cs typeface="Trebuchet MS"/>
        </a:defRPr>
      </a:lvl1pPr>
      <a:lvl2pPr marL="742839" indent="-285710" algn="l" defTabSz="457131" rtl="0" eaLnBrk="1" latinLnBrk="0" hangingPunct="1">
        <a:spcBef>
          <a:spcPct val="20000"/>
        </a:spcBef>
        <a:buFont typeface="Arial"/>
        <a:buChar char="–"/>
        <a:defRPr sz="1900" kern="1200">
          <a:solidFill>
            <a:schemeClr val="tx1"/>
          </a:solidFill>
          <a:latin typeface="Trebuchet MS"/>
          <a:ea typeface="+mn-ea"/>
          <a:cs typeface="Trebuchet MS"/>
        </a:defRPr>
      </a:lvl2pPr>
      <a:lvl3pPr marL="1142830" indent="-228568" algn="l" defTabSz="45713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Trebuchet MS"/>
          <a:ea typeface="+mn-ea"/>
          <a:cs typeface="Trebuchet MS"/>
        </a:defRPr>
      </a:lvl3pPr>
      <a:lvl4pPr marL="1599960" indent="-228568" algn="l" defTabSz="457131" rtl="0" eaLnBrk="1" latinLnBrk="0" hangingPunct="1">
        <a:spcBef>
          <a:spcPct val="20000"/>
        </a:spcBef>
        <a:buFont typeface="Arial"/>
        <a:buChar char="–"/>
        <a:defRPr sz="1300" kern="1200">
          <a:solidFill>
            <a:schemeClr val="tx1"/>
          </a:solidFill>
          <a:latin typeface="Trebuchet MS"/>
          <a:ea typeface="+mn-ea"/>
          <a:cs typeface="Trebuchet MS"/>
        </a:defRPr>
      </a:lvl4pPr>
      <a:lvl5pPr marL="2057091" indent="-228568" algn="l" defTabSz="457131" rtl="0" eaLnBrk="1" latinLnBrk="0" hangingPunct="1">
        <a:spcBef>
          <a:spcPct val="20000"/>
        </a:spcBef>
        <a:buFont typeface="Arial"/>
        <a:buChar char="»"/>
        <a:defRPr sz="1100" kern="1200">
          <a:solidFill>
            <a:schemeClr val="tx1"/>
          </a:solidFill>
          <a:latin typeface="Trebuchet MS"/>
          <a:ea typeface="+mn-ea"/>
          <a:cs typeface="Trebuchet MS"/>
        </a:defRPr>
      </a:lvl5pPr>
      <a:lvl6pPr marL="2514224" indent="-228568" algn="l" defTabSz="457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8" algn="l" defTabSz="457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8" indent="-228568" algn="l" defTabSz="457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22" indent="-228568" algn="l" defTabSz="457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8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2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0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4571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457200"/>
            <a:ext cx="9360544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46628"/>
            <a:ext cx="9363075" cy="50255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476" y="6254496"/>
            <a:ext cx="457200" cy="457200"/>
          </a:xfrm>
          <a:prstGeom prst="rect">
            <a:avLst/>
          </a:prstGeom>
        </p:spPr>
      </p:pic>
      <p:sp>
        <p:nvSpPr>
          <p:cNvPr id="7" name="Slide Number Placeholder 13"/>
          <p:cNvSpPr txBox="1">
            <a:spLocks/>
          </p:cNvSpPr>
          <p:nvPr userDrawn="1"/>
        </p:nvSpPr>
        <p:spPr>
          <a:xfrm>
            <a:off x="11363325" y="6400799"/>
            <a:ext cx="368427" cy="2286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b="0" i="0" kern="120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5F3C1C-9817-214B-A493-8D89031D0F9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8" name="Footer Placeholder 14"/>
          <p:cNvSpPr txBox="1">
            <a:spLocks/>
          </p:cNvSpPr>
          <p:nvPr userDrawn="1"/>
        </p:nvSpPr>
        <p:spPr>
          <a:xfrm>
            <a:off x="9820275" y="6400802"/>
            <a:ext cx="1543051" cy="22859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600" b="0" i="0" kern="120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>
                <a:solidFill>
                  <a:srgbClr val="FFFFFF"/>
                </a:solidFill>
              </a:rPr>
              <a:t>Continuum LLC. Proprietary &amp;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12608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</p:sldLayoutIdLst>
  <p:hf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0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144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432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720">
          <p15:clr>
            <a:srgbClr val="F26B43"/>
          </p15:clr>
        </p15:guide>
        <p15:guide id="7" orient="horz" pos="864">
          <p15:clr>
            <a:srgbClr val="F26B43"/>
          </p15:clr>
        </p15:guide>
        <p15:guide id="8" orient="horz" pos="1008">
          <p15:clr>
            <a:srgbClr val="F26B43"/>
          </p15:clr>
        </p15:guide>
        <p15:guide id="9" orient="horz" pos="1152">
          <p15:clr>
            <a:srgbClr val="F26B43"/>
          </p15:clr>
        </p15:guide>
        <p15:guide id="10" orient="horz" pos="1296">
          <p15:clr>
            <a:srgbClr val="F26B43"/>
          </p15:clr>
        </p15:guide>
        <p15:guide id="11" orient="horz" pos="1440">
          <p15:clr>
            <a:srgbClr val="F26B43"/>
          </p15:clr>
        </p15:guide>
        <p15:guide id="12" orient="horz" pos="1584">
          <p15:clr>
            <a:srgbClr val="F26B43"/>
          </p15:clr>
        </p15:guide>
        <p15:guide id="13" orient="horz" pos="1728">
          <p15:clr>
            <a:srgbClr val="F26B43"/>
          </p15:clr>
        </p15:guide>
        <p15:guide id="14" orient="horz" pos="1872">
          <p15:clr>
            <a:srgbClr val="F26B43"/>
          </p15:clr>
        </p15:guide>
        <p15:guide id="15" orient="horz" pos="2016">
          <p15:clr>
            <a:srgbClr val="F26B43"/>
          </p15:clr>
        </p15:guide>
        <p15:guide id="16" orient="horz" pos="2304">
          <p15:clr>
            <a:srgbClr val="F26B43"/>
          </p15:clr>
        </p15:guide>
        <p15:guide id="17" orient="horz" pos="2448">
          <p15:clr>
            <a:srgbClr val="F26B43"/>
          </p15:clr>
        </p15:guide>
        <p15:guide id="18" orient="horz" pos="2592">
          <p15:clr>
            <a:srgbClr val="F26B43"/>
          </p15:clr>
        </p15:guide>
        <p15:guide id="19" orient="horz" pos="2736">
          <p15:clr>
            <a:srgbClr val="F26B43"/>
          </p15:clr>
        </p15:guide>
        <p15:guide id="20" orient="horz" pos="2880">
          <p15:clr>
            <a:srgbClr val="F26B43"/>
          </p15:clr>
        </p15:guide>
        <p15:guide id="21" orient="horz" pos="3024">
          <p15:clr>
            <a:srgbClr val="F26B43"/>
          </p15:clr>
        </p15:guide>
        <p15:guide id="22" orient="horz" pos="3168">
          <p15:clr>
            <a:srgbClr val="F26B43"/>
          </p15:clr>
        </p15:guide>
        <p15:guide id="23" orient="horz" pos="3312">
          <p15:clr>
            <a:srgbClr val="F26B43"/>
          </p15:clr>
        </p15:guide>
        <p15:guide id="24" orient="horz" pos="3456">
          <p15:clr>
            <a:srgbClr val="F26B43"/>
          </p15:clr>
        </p15:guide>
        <p15:guide id="25" orient="horz" pos="3600">
          <p15:clr>
            <a:srgbClr val="F26B43"/>
          </p15:clr>
        </p15:guide>
        <p15:guide id="26" orient="horz" pos="3744">
          <p15:clr>
            <a:srgbClr val="F26B43"/>
          </p15:clr>
        </p15:guide>
        <p15:guide id="27" orient="horz" pos="3888">
          <p15:clr>
            <a:srgbClr val="F26B43"/>
          </p15:clr>
        </p15:guide>
        <p15:guide id="28" orient="horz" pos="4176">
          <p15:clr>
            <a:srgbClr val="F26B43"/>
          </p15:clr>
        </p15:guide>
        <p15:guide id="29" orient="horz">
          <p15:clr>
            <a:srgbClr val="F26B43"/>
          </p15:clr>
        </p15:guide>
        <p15:guide id="30" orient="horz" pos="4320">
          <p15:clr>
            <a:srgbClr val="F26B43"/>
          </p15:clr>
        </p15:guide>
        <p15:guide id="31" orient="horz" pos="4032">
          <p15:clr>
            <a:srgbClr val="F26B43"/>
          </p15:clr>
        </p15:guide>
        <p15:guide id="32" pos="288">
          <p15:clr>
            <a:srgbClr val="F26B43"/>
          </p15:clr>
        </p15:guide>
        <p15:guide id="33" pos="7392">
          <p15:clr>
            <a:srgbClr val="F26B43"/>
          </p15:clr>
        </p15:guide>
        <p15:guide id="34" pos="894">
          <p15:clr>
            <a:srgbClr val="F26B43"/>
          </p15:clr>
        </p15:guide>
        <p15:guide id="35" pos="750">
          <p15:clr>
            <a:srgbClr val="F26B43"/>
          </p15:clr>
        </p15:guide>
        <p15:guide id="36" pos="1354">
          <p15:clr>
            <a:srgbClr val="F26B43"/>
          </p15:clr>
        </p15:guide>
        <p15:guide id="37" pos="1498">
          <p15:clr>
            <a:srgbClr val="F26B43"/>
          </p15:clr>
        </p15:guide>
        <p15:guide id="38" pos="1958">
          <p15:clr>
            <a:srgbClr val="F26B43"/>
          </p15:clr>
        </p15:guide>
        <p15:guide id="39" pos="2104">
          <p15:clr>
            <a:srgbClr val="F26B43"/>
          </p15:clr>
        </p15:guide>
        <p15:guide id="40" pos="2710">
          <p15:clr>
            <a:srgbClr val="F26B43"/>
          </p15:clr>
        </p15:guide>
        <p15:guide id="41" pos="2565">
          <p15:clr>
            <a:srgbClr val="F26B43"/>
          </p15:clr>
        </p15:guide>
        <p15:guide id="42" pos="3310">
          <p15:clr>
            <a:srgbClr val="F26B43"/>
          </p15:clr>
        </p15:guide>
        <p15:guide id="43" pos="3168">
          <p15:clr>
            <a:srgbClr val="F26B43"/>
          </p15:clr>
        </p15:guide>
        <p15:guide id="44" pos="3772">
          <p15:clr>
            <a:srgbClr val="F26B43"/>
          </p15:clr>
        </p15:guide>
        <p15:guide id="45" pos="3919">
          <p15:clr>
            <a:srgbClr val="F26B43"/>
          </p15:clr>
        </p15:guide>
        <p15:guide id="46" pos="4376">
          <p15:clr>
            <a:srgbClr val="F26B43"/>
          </p15:clr>
        </p15:guide>
        <p15:guide id="47" pos="4523">
          <p15:clr>
            <a:srgbClr val="F26B43"/>
          </p15:clr>
        </p15:guide>
        <p15:guide id="48" pos="5128">
          <p15:clr>
            <a:srgbClr val="F26B43"/>
          </p15:clr>
        </p15:guide>
        <p15:guide id="49" pos="4981">
          <p15:clr>
            <a:srgbClr val="F26B43"/>
          </p15:clr>
        </p15:guide>
        <p15:guide id="50" pos="5579">
          <p15:clr>
            <a:srgbClr val="F26B43"/>
          </p15:clr>
        </p15:guide>
        <p15:guide id="51" pos="5726">
          <p15:clr>
            <a:srgbClr val="F26B43"/>
          </p15:clr>
        </p15:guide>
        <p15:guide id="52" pos="6186">
          <p15:clr>
            <a:srgbClr val="F26B43"/>
          </p15:clr>
        </p15:guide>
        <p15:guide id="53" pos="6330">
          <p15:clr>
            <a:srgbClr val="F26B43"/>
          </p15:clr>
        </p15:guide>
        <p15:guide id="54" pos="6793">
          <p15:clr>
            <a:srgbClr val="F26B43"/>
          </p15:clr>
        </p15:guide>
        <p15:guide id="55" pos="693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6475308"/>
            <a:ext cx="12206941" cy="39763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377"/>
            <a:endParaRPr lang="en-US" sz="1867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894817" y="6533385"/>
            <a:ext cx="1991360" cy="25654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r" defTabSz="914377"/>
            <a:fld id="{C2C0EDAD-27A0-9447-9004-E733B36B95C3}" type="slidenum">
              <a:rPr lang="en-US" sz="1067">
                <a:solidFill>
                  <a:srgbClr val="CCCCCC"/>
                </a:solidFill>
                <a:cs typeface="Trebuchet MS"/>
              </a:rPr>
              <a:pPr algn="r" defTabSz="914377"/>
              <a:t>‹#›</a:t>
            </a:fld>
            <a:endParaRPr lang="en-US" sz="1067">
              <a:solidFill>
                <a:srgbClr val="CCCCCC"/>
              </a:solidFill>
              <a:cs typeface="Trebuchet M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74079" y="6562320"/>
            <a:ext cx="3088640" cy="21544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defTabSz="914377"/>
            <a:r>
              <a:rPr lang="en-US" sz="800" kern="0" spc="20">
                <a:solidFill>
                  <a:srgbClr val="CCCCCC"/>
                </a:solidFill>
                <a:cs typeface="Trebuchet MS"/>
              </a:rPr>
              <a:t>CONFIDENTIA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84332" y="6587744"/>
            <a:ext cx="0" cy="164592"/>
          </a:xfrm>
          <a:prstGeom prst="line">
            <a:avLst/>
          </a:prstGeom>
          <a:ln w="317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_footer.png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632" y="6575246"/>
            <a:ext cx="635000" cy="225889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38784"/>
          </a:xfrm>
          <a:prstGeom prst="rect">
            <a:avLst/>
          </a:prstGeom>
          <a:solidFill>
            <a:schemeClr val="bg1"/>
          </a:solidFill>
          <a:effectLst>
            <a:outerShdw blurRad="40005" dist="25400" dir="5400000" algn="tl" rotWithShape="0">
              <a:srgbClr val="000000">
                <a:alpha val="30000"/>
              </a:srgbClr>
            </a:outerShdw>
          </a:effectLst>
        </p:spPr>
        <p:txBody>
          <a:bodyPr vert="horz" lIns="274320" tIns="45720" rIns="2743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69455" y="1262304"/>
            <a:ext cx="11406909" cy="48633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23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643" r:id="rId2"/>
    <p:sldLayoutId id="2147484644" r:id="rId3"/>
    <p:sldLayoutId id="2147484645" r:id="rId4"/>
    <p:sldLayoutId id="2147484646" r:id="rId5"/>
    <p:sldLayoutId id="2147484647" r:id="rId6"/>
    <p:sldLayoutId id="2147484648" r:id="rId7"/>
    <p:sldLayoutId id="2147484649" r:id="rId8"/>
    <p:sldLayoutId id="2147484650" r:id="rId9"/>
    <p:sldLayoutId id="2147484651" r:id="rId10"/>
    <p:sldLayoutId id="2147484652" r:id="rId11"/>
    <p:sldLayoutId id="2147484653" r:id="rId12"/>
    <p:sldLayoutId id="2147484654" r:id="rId13"/>
    <p:sldLayoutId id="2147484655" r:id="rId14"/>
    <p:sldLayoutId id="2147484656" r:id="rId15"/>
    <p:sldLayoutId id="2147484657" r:id="rId16"/>
    <p:sldLayoutId id="2147484658" r:id="rId17"/>
    <p:sldLayoutId id="2147484659" r:id="rId18"/>
    <p:sldLayoutId id="2147484660" r:id="rId19"/>
    <p:sldLayoutId id="2147484661" r:id="rId20"/>
    <p:sldLayoutId id="2147484662" r:id="rId21"/>
    <p:sldLayoutId id="2147484663" r:id="rId22"/>
    <p:sldLayoutId id="2147484664" r:id="rId23"/>
    <p:sldLayoutId id="2147484665" r:id="rId24"/>
    <p:sldLayoutId id="2147484666" r:id="rId25"/>
    <p:sldLayoutId id="2147484667" r:id="rId26"/>
    <p:sldLayoutId id="2147484668" r:id="rId27"/>
    <p:sldLayoutId id="2147484669" r:id="rId28"/>
    <p:sldLayoutId id="2147484670" r:id="rId29"/>
    <p:sldLayoutId id="2147484672" r:id="rId30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667" kern="1200">
          <a:solidFill>
            <a:schemeClr val="tx1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spcAft>
          <a:spcPts val="400"/>
        </a:spcAft>
        <a:buFont typeface="Arial"/>
        <a:buNone/>
        <a:defRPr sz="1600" b="0" i="0" kern="1200">
          <a:solidFill>
            <a:schemeClr val="tx1"/>
          </a:solidFill>
          <a:latin typeface="+mn-lt"/>
          <a:ea typeface="+mn-ea"/>
          <a:cs typeface="Trebuchet MS Bold Italic"/>
        </a:defRPr>
      </a:lvl1pPr>
      <a:lvl2pPr marL="304792" indent="-304792" algn="l" defTabSz="457189" rtl="0" eaLnBrk="1" latinLnBrk="0" hangingPunct="1">
        <a:spcBef>
          <a:spcPct val="20000"/>
        </a:spcBef>
        <a:spcAft>
          <a:spcPts val="400"/>
        </a:spcAft>
        <a:buClr>
          <a:schemeClr val="accent2"/>
        </a:buClr>
        <a:buSzPct val="120000"/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09585" indent="-304792" algn="l" defTabSz="457189" rtl="0" eaLnBrk="1" latinLnBrk="0" hangingPunct="1">
        <a:spcBef>
          <a:spcPct val="20000"/>
        </a:spcBef>
        <a:spcAft>
          <a:spcPts val="400"/>
        </a:spcAft>
        <a:buClr>
          <a:schemeClr val="accent2"/>
        </a:buClr>
        <a:buSzPct val="120000"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865610" indent="-228594" algn="l" defTabSz="457189" rtl="0" eaLnBrk="1" latinLnBrk="0" hangingPunct="1">
        <a:spcBef>
          <a:spcPct val="20000"/>
        </a:spcBef>
        <a:spcAft>
          <a:spcPts val="400"/>
        </a:spcAft>
        <a:buClr>
          <a:schemeClr val="accent2"/>
        </a:buClr>
        <a:buSzPct val="120000"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085061" indent="-228594" algn="l" defTabSz="457189" rtl="0" eaLnBrk="1" latinLnBrk="0" hangingPunct="1">
        <a:spcBef>
          <a:spcPct val="20000"/>
        </a:spcBef>
        <a:spcAft>
          <a:spcPts val="400"/>
        </a:spcAft>
        <a:buClr>
          <a:schemeClr val="accent2"/>
        </a:buClr>
        <a:buSzPct val="120000"/>
        <a:buFont typeface="Arial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fi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515290" y="2496312"/>
            <a:ext cx="8874036" cy="9326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oud native pipelines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77414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918A4-9484-4A78-8632-F22FD510C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00304"/>
            <a:ext cx="11235265" cy="410369"/>
          </a:xfrm>
        </p:spPr>
        <p:txBody>
          <a:bodyPr/>
          <a:lstStyle/>
          <a:p>
            <a:r>
              <a:rPr lang="en-US" dirty="0"/>
              <a:t>Distribution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803CE7-5793-464A-A531-09DB6FC061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7F49CA3-DC6D-4727-B8CB-0293E9862D94}"/>
              </a:ext>
            </a:extLst>
          </p:cNvPr>
          <p:cNvGrpSpPr/>
          <p:nvPr/>
        </p:nvGrpSpPr>
        <p:grpSpPr>
          <a:xfrm>
            <a:off x="1417906" y="802930"/>
            <a:ext cx="8893212" cy="5299812"/>
            <a:chOff x="1417906" y="802930"/>
            <a:chExt cx="8893212" cy="52998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7E4F071-CB1B-4588-959C-9EF9356FE6BB}"/>
                </a:ext>
              </a:extLst>
            </p:cNvPr>
            <p:cNvSpPr/>
            <p:nvPr/>
          </p:nvSpPr>
          <p:spPr>
            <a:xfrm>
              <a:off x="3611602" y="3165993"/>
              <a:ext cx="868277" cy="67701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Artifact.zip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24C893B-265C-465B-AE4F-6EC752E39AA2}"/>
                </a:ext>
              </a:extLst>
            </p:cNvPr>
            <p:cNvSpPr/>
            <p:nvPr/>
          </p:nvSpPr>
          <p:spPr>
            <a:xfrm>
              <a:off x="4817664" y="3165993"/>
              <a:ext cx="868277" cy="67701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Manual run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AFF4F9D-B62A-4968-8826-F826510BF08C}"/>
                </a:ext>
              </a:extLst>
            </p:cNvPr>
            <p:cNvSpPr/>
            <p:nvPr/>
          </p:nvSpPr>
          <p:spPr>
            <a:xfrm>
              <a:off x="8266614" y="1229402"/>
              <a:ext cx="1905101" cy="4873337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89F59C2-69DC-4B93-B679-671A336B5522}"/>
                </a:ext>
              </a:extLst>
            </p:cNvPr>
            <p:cNvSpPr txBox="1"/>
            <p:nvPr/>
          </p:nvSpPr>
          <p:spPr>
            <a:xfrm>
              <a:off x="8266613" y="1238756"/>
              <a:ext cx="20445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Azure Cloud resources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768CF9E9-BFF6-405B-BAA6-7D8327F30E0F}"/>
                </a:ext>
              </a:extLst>
            </p:cNvPr>
            <p:cNvSpPr/>
            <p:nvPr/>
          </p:nvSpPr>
          <p:spPr>
            <a:xfrm>
              <a:off x="8519815" y="1923153"/>
              <a:ext cx="1423555" cy="3684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VNET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DEFB377-CED7-47F5-8334-BD427B7C48A9}"/>
                </a:ext>
              </a:extLst>
            </p:cNvPr>
            <p:cNvSpPr/>
            <p:nvPr/>
          </p:nvSpPr>
          <p:spPr>
            <a:xfrm>
              <a:off x="8519815" y="2435128"/>
              <a:ext cx="1423555" cy="36943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ACR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3FDE39B3-9C37-440F-A39B-5A0567E5AD0D}"/>
                </a:ext>
              </a:extLst>
            </p:cNvPr>
            <p:cNvSpPr/>
            <p:nvPr/>
          </p:nvSpPr>
          <p:spPr>
            <a:xfrm>
              <a:off x="8519815" y="2962306"/>
              <a:ext cx="1423555" cy="3684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AKS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8F0AAA66-DFFB-4CE0-90CB-9873BD442500}"/>
                </a:ext>
              </a:extLst>
            </p:cNvPr>
            <p:cNvSpPr/>
            <p:nvPr/>
          </p:nvSpPr>
          <p:spPr>
            <a:xfrm>
              <a:off x="8519814" y="3504502"/>
              <a:ext cx="1423555" cy="3684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KeyVault etc.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8CD04C17-1A64-4EBE-97C2-5EA114CFFEB0}"/>
                </a:ext>
              </a:extLst>
            </p:cNvPr>
            <p:cNvSpPr/>
            <p:nvPr/>
          </p:nvSpPr>
          <p:spPr>
            <a:xfrm>
              <a:off x="8519814" y="4334118"/>
              <a:ext cx="1423555" cy="66823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Application deployment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83D070E-85CA-4750-ABAE-997EB5A8C199}"/>
                </a:ext>
              </a:extLst>
            </p:cNvPr>
            <p:cNvSpPr/>
            <p:nvPr/>
          </p:nvSpPr>
          <p:spPr>
            <a:xfrm>
              <a:off x="6023727" y="1229402"/>
              <a:ext cx="1905100" cy="4873337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DD85504-0B9E-4A48-9F70-25436AA8BF30}"/>
                </a:ext>
              </a:extLst>
            </p:cNvPr>
            <p:cNvSpPr txBox="1"/>
            <p:nvPr/>
          </p:nvSpPr>
          <p:spPr>
            <a:xfrm>
              <a:off x="6052710" y="1265272"/>
              <a:ext cx="20445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DevOps Projec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570AC12-9FF9-4269-AC91-4FD9D15CD427}"/>
                </a:ext>
              </a:extLst>
            </p:cNvPr>
            <p:cNvSpPr/>
            <p:nvPr/>
          </p:nvSpPr>
          <p:spPr>
            <a:xfrm>
              <a:off x="6260212" y="1742742"/>
              <a:ext cx="1342932" cy="51954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Pipeline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8030879-1F38-4141-8436-FA9B88AA2FE5}"/>
                </a:ext>
              </a:extLst>
            </p:cNvPr>
            <p:cNvSpPr/>
            <p:nvPr/>
          </p:nvSpPr>
          <p:spPr>
            <a:xfrm>
              <a:off x="6260212" y="2417934"/>
              <a:ext cx="1342932" cy="51954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Terraform module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5F65E1C-EF59-456E-AF31-189534890FC1}"/>
                </a:ext>
              </a:extLst>
            </p:cNvPr>
            <p:cNvSpPr/>
            <p:nvPr/>
          </p:nvSpPr>
          <p:spPr>
            <a:xfrm>
              <a:off x="6264379" y="3094394"/>
              <a:ext cx="1342932" cy="519545"/>
            </a:xfrm>
            <a:prstGeom prst="rect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Documentation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DAE722-31D9-401C-B206-27E9EE561282}"/>
                </a:ext>
              </a:extLst>
            </p:cNvPr>
            <p:cNvSpPr/>
            <p:nvPr/>
          </p:nvSpPr>
          <p:spPr>
            <a:xfrm>
              <a:off x="6264758" y="4449687"/>
              <a:ext cx="1342932" cy="51954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Pipelines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BD02176B-BE8D-418F-A2D8-A7BBC29E4011}"/>
                </a:ext>
              </a:extLst>
            </p:cNvPr>
            <p:cNvSpPr/>
            <p:nvPr/>
          </p:nvSpPr>
          <p:spPr>
            <a:xfrm>
              <a:off x="6264207" y="5109011"/>
              <a:ext cx="1342932" cy="519545"/>
            </a:xfrm>
            <a:prstGeom prst="rect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Documentation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5961C17-E394-4D75-B9B6-D4DF8B6B0B0B}"/>
                </a:ext>
              </a:extLst>
            </p:cNvPr>
            <p:cNvSpPr txBox="1"/>
            <p:nvPr/>
          </p:nvSpPr>
          <p:spPr>
            <a:xfrm>
              <a:off x="6108437" y="3980620"/>
              <a:ext cx="20445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Application Project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F9895B7-75CF-4C3A-84D3-DE2F0C8C40F4}"/>
                </a:ext>
              </a:extLst>
            </p:cNvPr>
            <p:cNvSpPr/>
            <p:nvPr/>
          </p:nvSpPr>
          <p:spPr>
            <a:xfrm>
              <a:off x="6108437" y="1646711"/>
              <a:ext cx="1692739" cy="21125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DE6D83F-D194-4BDD-988E-FBB094F9D8A3}"/>
                </a:ext>
              </a:extLst>
            </p:cNvPr>
            <p:cNvSpPr/>
            <p:nvPr/>
          </p:nvSpPr>
          <p:spPr>
            <a:xfrm>
              <a:off x="6108437" y="4334118"/>
              <a:ext cx="1697285" cy="141512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D248853-4BDB-4131-B624-F899593DB616}"/>
                </a:ext>
              </a:extLst>
            </p:cNvPr>
            <p:cNvSpPr txBox="1"/>
            <p:nvPr/>
          </p:nvSpPr>
          <p:spPr>
            <a:xfrm>
              <a:off x="6020854" y="802930"/>
              <a:ext cx="4150861" cy="307777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Customer’s target solu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4A4E29E-0142-4401-9B88-C312F908A9FE}"/>
                </a:ext>
              </a:extLst>
            </p:cNvPr>
            <p:cNvSpPr/>
            <p:nvPr/>
          </p:nvSpPr>
          <p:spPr>
            <a:xfrm>
              <a:off x="1417906" y="1229405"/>
              <a:ext cx="1940496" cy="48733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02B8848-AD87-4543-91A2-21AFBDA229C2}"/>
                </a:ext>
              </a:extLst>
            </p:cNvPr>
            <p:cNvSpPr txBox="1"/>
            <p:nvPr/>
          </p:nvSpPr>
          <p:spPr>
            <a:xfrm>
              <a:off x="1439611" y="1324363"/>
              <a:ext cx="20445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DevOps Projec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86957DD-C805-46F3-ABF5-B52276091245}"/>
                </a:ext>
              </a:extLst>
            </p:cNvPr>
            <p:cNvSpPr/>
            <p:nvPr/>
          </p:nvSpPr>
          <p:spPr>
            <a:xfrm>
              <a:off x="1654392" y="1742745"/>
              <a:ext cx="1342932" cy="51954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Pipelin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02FDB5D-81BA-4E1A-9555-9CC37D54EA4E}"/>
                </a:ext>
              </a:extLst>
            </p:cNvPr>
            <p:cNvSpPr/>
            <p:nvPr/>
          </p:nvSpPr>
          <p:spPr>
            <a:xfrm>
              <a:off x="1654392" y="2417937"/>
              <a:ext cx="1342932" cy="51954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Terraform modul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C161A73-F11F-4B11-A41C-5294E1D7575E}"/>
                </a:ext>
              </a:extLst>
            </p:cNvPr>
            <p:cNvSpPr/>
            <p:nvPr/>
          </p:nvSpPr>
          <p:spPr>
            <a:xfrm>
              <a:off x="1658559" y="3094397"/>
              <a:ext cx="1342932" cy="519545"/>
            </a:xfrm>
            <a:prstGeom prst="rect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Documentation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45D71D0-E042-4ABB-9E3D-51757C74FA51}"/>
                </a:ext>
              </a:extLst>
            </p:cNvPr>
            <p:cNvSpPr/>
            <p:nvPr/>
          </p:nvSpPr>
          <p:spPr>
            <a:xfrm>
              <a:off x="1658938" y="4449690"/>
              <a:ext cx="1342932" cy="51954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Pipeline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78A5A98-1EC7-471D-8420-F022C3538AAD}"/>
                </a:ext>
              </a:extLst>
            </p:cNvPr>
            <p:cNvSpPr/>
            <p:nvPr/>
          </p:nvSpPr>
          <p:spPr>
            <a:xfrm>
              <a:off x="1658387" y="5109014"/>
              <a:ext cx="1342932" cy="519545"/>
            </a:xfrm>
            <a:prstGeom prst="rect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Documentation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C4F83C-4A30-4B57-898A-B2D8E6CE3DB8}"/>
                </a:ext>
              </a:extLst>
            </p:cNvPr>
            <p:cNvSpPr txBox="1"/>
            <p:nvPr/>
          </p:nvSpPr>
          <p:spPr>
            <a:xfrm>
              <a:off x="1502617" y="3980623"/>
              <a:ext cx="204450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Application Projec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FE4E7E6-D3AC-4A95-B5B0-F3A5CFC794E9}"/>
                </a:ext>
              </a:extLst>
            </p:cNvPr>
            <p:cNvSpPr/>
            <p:nvPr/>
          </p:nvSpPr>
          <p:spPr>
            <a:xfrm>
              <a:off x="1502617" y="1646714"/>
              <a:ext cx="1692739" cy="211257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2593EAB-557C-4114-A67F-EB5C9D3DB301}"/>
                </a:ext>
              </a:extLst>
            </p:cNvPr>
            <p:cNvSpPr/>
            <p:nvPr/>
          </p:nvSpPr>
          <p:spPr>
            <a:xfrm>
              <a:off x="1502617" y="4334121"/>
              <a:ext cx="1697285" cy="141512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accent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7F91C45-1909-49B6-9A8C-8E3043383BE4}"/>
                </a:ext>
              </a:extLst>
            </p:cNvPr>
            <p:cNvSpPr txBox="1"/>
            <p:nvPr/>
          </p:nvSpPr>
          <p:spPr>
            <a:xfrm>
              <a:off x="1421504" y="802930"/>
              <a:ext cx="1940497" cy="30777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Cloud Native Pipelines</a:t>
              </a:r>
            </a:p>
          </p:txBody>
        </p: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43C58CBD-68A8-45DD-AA32-2FA155683AC2}"/>
                </a:ext>
              </a:extLst>
            </p:cNvPr>
            <p:cNvCxnSpPr>
              <a:endCxn id="13" idx="1"/>
            </p:cNvCxnSpPr>
            <p:nvPr/>
          </p:nvCxnSpPr>
          <p:spPr>
            <a:xfrm>
              <a:off x="3358402" y="3504502"/>
              <a:ext cx="253200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A5326E5B-459F-4A7A-865E-252F818D75C4}"/>
                </a:ext>
              </a:extLst>
            </p:cNvPr>
            <p:cNvCxnSpPr>
              <a:stCxn id="13" idx="3"/>
              <a:endCxn id="28" idx="1"/>
            </p:cNvCxnSpPr>
            <p:nvPr/>
          </p:nvCxnSpPr>
          <p:spPr>
            <a:xfrm>
              <a:off x="4479879" y="3504503"/>
              <a:ext cx="33778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8BED2E75-558D-4C20-BAE2-B50478A1BB43}"/>
                </a:ext>
              </a:extLst>
            </p:cNvPr>
            <p:cNvCxnSpPr>
              <a:stCxn id="28" idx="3"/>
            </p:cNvCxnSpPr>
            <p:nvPr/>
          </p:nvCxnSpPr>
          <p:spPr>
            <a:xfrm flipV="1">
              <a:off x="5685941" y="3504502"/>
              <a:ext cx="334913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65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043A-5CB6-45D1-A0B1-49DE47DD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referenc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9ECA99-7F6E-46B3-96C9-39BE3A19C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8601756A-07FC-46EF-A418-DEAE1A7D86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668" y="891908"/>
            <a:ext cx="9604664" cy="536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707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A0D83-AA9C-4B26-B7A2-2E3CB7EF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CI/CD pipe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AEDAD8-3AFA-4685-B4BE-DCB104B81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7D2F03FC-5A4C-4471-BF50-5B4460EF3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390" y="858400"/>
            <a:ext cx="8440339" cy="542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745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A0D83-AA9C-4B26-B7A2-2E3CB7EF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IaC pipe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AEDAD8-3AFA-4685-B4BE-DCB104B81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2CD7BEE2-6ADB-4D5B-ADF0-9878E7E043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606" y="853136"/>
            <a:ext cx="8483130" cy="545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325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D8B0E-2244-43C0-87B3-F972CF2D5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6" y="300785"/>
            <a:ext cx="11235265" cy="410433"/>
          </a:xfrm>
        </p:spPr>
        <p:txBody>
          <a:bodyPr/>
          <a:lstStyle/>
          <a:p>
            <a:r>
              <a:rPr lang="en-US" dirty="0"/>
              <a:t>Our cli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14F36D-99A1-41D3-BCC0-CC4AE7F463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7953C6-EA86-4218-9461-90E37CD0DE64}"/>
              </a:ext>
            </a:extLst>
          </p:cNvPr>
          <p:cNvSpPr txBox="1"/>
          <p:nvPr/>
        </p:nvSpPr>
        <p:spPr>
          <a:xfrm>
            <a:off x="955964" y="1433946"/>
            <a:ext cx="727363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OneCallMedical</a:t>
            </a:r>
            <a:endParaRPr lang="en-US" sz="1400" dirty="0"/>
          </a:p>
          <a:p>
            <a:r>
              <a:rPr lang="en-US" sz="1400" dirty="0"/>
              <a:t>HarperCollins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42261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3302CC-8A32-4C3B-9729-AC811E5C3A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07DD9-E92B-45E8-BE0A-E6B2EDF345E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46461-E818-48AA-B8E8-51C7BD406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956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A59BEA9-8AC4-483B-82AC-30EC8534565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0129EF-EA1B-4A90-8446-A9FD145827F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48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2962656"/>
            <a:ext cx="4927600" cy="9326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355261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29"/>
  <p:tag name="MIO_PRESI_FIRST_SLIDENUMBER" val="1"/>
  <p:tag name="MIO_HDS" val="True"/>
  <p:tag name="MIO_SKIPVERSION" val="01.01.0001 00:00:00"/>
  <p:tag name="MIO_EKGUID" val="00000000-0000-0000-0000-000000000000"/>
  <p:tag name="MIO_UPDATE" val="True"/>
  <p:tag name="MIO_VERSION" val="19.07.2018 16:55:12"/>
  <p:tag name="MIO_DBID" val="25C89224-3BD0-4DAE-9699-6AD9CAF4AB96"/>
  <p:tag name="MIO_LASTDOWNLOADED" val="19.07.2018 16:55:12"/>
  <p:tag name="MIO_OBJECTNAME" val="Presale_MASTER"/>
  <p:tag name="MIO_LASTEDITORNAME" val="Peter Rutsch"/>
  <p:tag name="MIO_CDID" val="2fbe73ac-3723-4662-9d5a-a2c6c61485b5"/>
</p:tagLst>
</file>

<file path=ppt/theme/theme1.xml><?xml version="1.0" encoding="utf-8"?>
<a:theme xmlns:a="http://schemas.openxmlformats.org/drawingml/2006/main" name="1_Presale_MASTER">
  <a:themeElements>
    <a:clrScheme name="Custom 10">
      <a:dk1>
        <a:srgbClr val="222222"/>
      </a:dk1>
      <a:lt1>
        <a:sysClr val="window" lastClr="FFFFFF"/>
      </a:lt1>
      <a:dk2>
        <a:srgbClr val="464547"/>
      </a:dk2>
      <a:lt2>
        <a:srgbClr val="CCCCCC"/>
      </a:lt2>
      <a:accent1>
        <a:srgbClr val="222222"/>
      </a:accent1>
      <a:accent2>
        <a:srgbClr val="39C2D7"/>
      </a:accent2>
      <a:accent3>
        <a:srgbClr val="008ACF"/>
      </a:accent3>
      <a:accent4>
        <a:srgbClr val="A3C644"/>
      </a:accent4>
      <a:accent5>
        <a:srgbClr val="CEDB56"/>
      </a:accent5>
      <a:accent6>
        <a:srgbClr val="D35D47"/>
      </a:accent6>
      <a:hlink>
        <a:srgbClr val="76CDD8"/>
      </a:hlink>
      <a:folHlink>
        <a:srgbClr val="FF8500"/>
      </a:folHlink>
    </a:clrScheme>
    <a:fontScheme name="Presales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200" dirty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/>
        </a:defPPr>
      </a:lstStyle>
    </a:txDef>
  </a:objectDefaults>
  <a:extraClrSchemeLst/>
  <a:custClrLst>
    <a:custClr name="PALINA WHITE">
      <a:srgbClr val="FFFFFF"/>
    </a:custClr>
    <a:custClr name="LIGHT GRAY">
      <a:srgbClr val="CCCCCC"/>
    </a:custClr>
    <a:custClr name="DARK GRAY">
      <a:srgbClr val="464547"/>
    </a:custClr>
    <a:custClr name="GRAPHITE">
      <a:srgbClr val="222222"/>
    </a:custClr>
    <a:custClr name="EPAM BLUE">
      <a:srgbClr val="80CDD8"/>
    </a:custClr>
    <a:custClr name="SHARP BLUE">
      <a:srgbClr val="39C2D7"/>
    </a:custClr>
    <a:custClr name="BRIGHT BLUE">
      <a:srgbClr val="008ACF"/>
    </a:custClr>
    <a:custClr name="DARK BLUE">
      <a:srgbClr val="263852"/>
    </a:custClr>
    <a:custClr name="LIME GREEN">
      <a:srgbClr val="CEDB56"/>
    </a:custClr>
    <a:custClr name="CORAL">
      <a:srgbClr val="D35D47"/>
    </a:custClr>
  </a:custClrLst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2.xml><?xml version="1.0" encoding="utf-8"?>
<a:theme xmlns:a="http://schemas.openxmlformats.org/drawingml/2006/main" name="2_Presale_MASTER">
  <a:themeElements>
    <a:clrScheme name="EPAM Presales">
      <a:dk1>
        <a:srgbClr val="464547"/>
      </a:dk1>
      <a:lt1>
        <a:sysClr val="window" lastClr="FFFFFF"/>
      </a:lt1>
      <a:dk2>
        <a:srgbClr val="666666"/>
      </a:dk2>
      <a:lt2>
        <a:srgbClr val="999999"/>
      </a:lt2>
      <a:accent1>
        <a:srgbClr val="222222"/>
      </a:accent1>
      <a:accent2>
        <a:srgbClr val="39C2D7"/>
      </a:accent2>
      <a:accent3>
        <a:srgbClr val="008ACF"/>
      </a:accent3>
      <a:accent4>
        <a:srgbClr val="A3C644"/>
      </a:accent4>
      <a:accent5>
        <a:srgbClr val="CEDB56"/>
      </a:accent5>
      <a:accent6>
        <a:srgbClr val="D35D47"/>
      </a:accent6>
      <a:hlink>
        <a:srgbClr val="76CDD8"/>
      </a:hlink>
      <a:folHlink>
        <a:srgbClr val="FF8500"/>
      </a:folHlink>
    </a:clrScheme>
    <a:fontScheme name="Presales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PAM PPTX Template" id="{07F0FB55-CFFA-47CA-99A0-A77E3213ACA6}" vid="{5C4EAAF8-284D-4A65-B20F-C47DE8AC2658}"/>
    </a:ext>
  </a:extLst>
</a:theme>
</file>

<file path=ppt/theme/theme3.xml><?xml version="1.0" encoding="utf-8"?>
<a:theme xmlns:a="http://schemas.openxmlformats.org/drawingml/2006/main" name="4_PV-01">
  <a:themeElements>
    <a:clrScheme name="Custom 1">
      <a:dk1>
        <a:srgbClr val="464547"/>
      </a:dk1>
      <a:lt1>
        <a:sysClr val="window" lastClr="FFFFFF"/>
      </a:lt1>
      <a:dk2>
        <a:srgbClr val="666666"/>
      </a:dk2>
      <a:lt2>
        <a:srgbClr val="999999"/>
      </a:lt2>
      <a:accent1>
        <a:srgbClr val="CCCCCC"/>
      </a:accent1>
      <a:accent2>
        <a:srgbClr val="39C2D7"/>
      </a:accent2>
      <a:accent3>
        <a:srgbClr val="1A9CB0"/>
      </a:accent3>
      <a:accent4>
        <a:srgbClr val="A3C644"/>
      </a:accent4>
      <a:accent5>
        <a:srgbClr val="7F993A"/>
      </a:accent5>
      <a:accent6>
        <a:srgbClr val="B22746"/>
      </a:accent6>
      <a:hlink>
        <a:srgbClr val="1A9CB0"/>
      </a:hlink>
      <a:folHlink>
        <a:srgbClr val="E99EAF"/>
      </a:folHlink>
    </a:clrScheme>
    <a:fontScheme name="Custom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mokey Glass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ct val="120000"/>
          </a:lnSpc>
          <a:defRPr dirty="0" err="1">
            <a:solidFill>
              <a:srgbClr val="444444"/>
            </a:solidFill>
            <a:latin typeface="Trebuchet MS"/>
            <a:cs typeface="Trebuchet MS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6_Continuum Theme">
  <a:themeElements>
    <a:clrScheme name="Continuum 3">
      <a:dk1>
        <a:srgbClr val="000000"/>
      </a:dk1>
      <a:lt1>
        <a:srgbClr val="FFFFFF"/>
      </a:lt1>
      <a:dk2>
        <a:srgbClr val="A0A0A0"/>
      </a:dk2>
      <a:lt2>
        <a:srgbClr val="DBD9D6"/>
      </a:lt2>
      <a:accent1>
        <a:srgbClr val="545454"/>
      </a:accent1>
      <a:accent2>
        <a:srgbClr val="FFC000"/>
      </a:accent2>
      <a:accent3>
        <a:srgbClr val="B9DCEB"/>
      </a:accent3>
      <a:accent4>
        <a:srgbClr val="445464"/>
      </a:accent4>
      <a:accent5>
        <a:srgbClr val="4F7488"/>
      </a:accent5>
      <a:accent6>
        <a:srgbClr val="4497CB"/>
      </a:accent6>
      <a:hlink>
        <a:srgbClr val="000000"/>
      </a:hlink>
      <a:folHlink>
        <a:srgbClr val="000000"/>
      </a:folHlink>
    </a:clrScheme>
    <a:fontScheme name="Human Sans">
      <a:majorFont>
        <a:latin typeface="Human Sans ExtraLight"/>
        <a:ea typeface=""/>
        <a:cs typeface=""/>
      </a:majorFont>
      <a:minorFont>
        <a:latin typeface="Huma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none" rtlCol="0" anchor="ctr"/>
      <a:lstStyle>
        <a:defPPr algn="ctr">
          <a:defRPr sz="2400" dirty="0" err="1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600"/>
          </a:spcBef>
          <a:defRPr sz="1200" dirty="0" err="1" smtClean="0">
            <a:ea typeface="Human Sans" charset="0"/>
            <a:cs typeface="Human Sans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5.xml><?xml version="1.0" encoding="utf-8"?>
<a:theme xmlns:a="http://schemas.openxmlformats.org/drawingml/2006/main" name="14_Header &amp; Footer Slides">
  <a:themeElements>
    <a:clrScheme name="EPAM_Color">
      <a:dk1>
        <a:srgbClr val="464547"/>
      </a:dk1>
      <a:lt1>
        <a:sysClr val="window" lastClr="FFFFFF"/>
      </a:lt1>
      <a:dk2>
        <a:srgbClr val="666666"/>
      </a:dk2>
      <a:lt2>
        <a:srgbClr val="999999"/>
      </a:lt2>
      <a:accent1>
        <a:srgbClr val="CCCCCC"/>
      </a:accent1>
      <a:accent2>
        <a:srgbClr val="39C2D7"/>
      </a:accent2>
      <a:accent3>
        <a:srgbClr val="1B8BA0"/>
      </a:accent3>
      <a:accent4>
        <a:srgbClr val="A3C644"/>
      </a:accent4>
      <a:accent5>
        <a:srgbClr val="7F993A"/>
      </a:accent5>
      <a:accent6>
        <a:srgbClr val="B22746"/>
      </a:accent6>
      <a:hlink>
        <a:srgbClr val="32B6CE"/>
      </a:hlink>
      <a:folHlink>
        <a:srgbClr val="1B8A9F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1B477E4D95714EB16CA2EAAC1E4C23" ma:contentTypeVersion="9" ma:contentTypeDescription="Create a new document." ma:contentTypeScope="" ma:versionID="2d8bdae857c18dbd8c75e92a37cee128">
  <xsd:schema xmlns:xsd="http://www.w3.org/2001/XMLSchema" xmlns:xs="http://www.w3.org/2001/XMLSchema" xmlns:p="http://schemas.microsoft.com/office/2006/metadata/properties" xmlns:ns2="33817541-fad7-49a8-9210-88443c2b9402" xmlns:ns3="c0450df2-7726-4f7e-b032-f17b4e63f589" targetNamespace="http://schemas.microsoft.com/office/2006/metadata/properties" ma:root="true" ma:fieldsID="01292bb14e5c6d92802939668843aa4e" ns2:_="" ns3:_="">
    <xsd:import namespace="33817541-fad7-49a8-9210-88443c2b9402"/>
    <xsd:import namespace="c0450df2-7726-4f7e-b032-f17b4e63f5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817541-fad7-49a8-9210-88443c2b94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450df2-7726-4f7e-b032-f17b4e63f58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0450df2-7726-4f7e-b032-f17b4e63f589">
      <UserInfo>
        <DisplayName>Anastasiya Verkhavodka</DisplayName>
        <AccountId>17</AccountId>
        <AccountType/>
      </UserInfo>
      <UserInfo>
        <DisplayName>Raman Yushkou</DisplayName>
        <AccountId>1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A80CD37-1BC0-4AE6-94B0-88691E9952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468F43-6A15-4E1B-96A8-6791102D3E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817541-fad7-49a8-9210-88443c2b9402"/>
    <ds:schemaRef ds:uri="c0450df2-7726-4f7e-b032-f17b4e63f5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7F86E9-D902-4F42-A7D5-7577FC43EF9E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c0450df2-7726-4f7e-b032-f17b4e63f589"/>
    <ds:schemaRef ds:uri="http://www.w3.org/XML/1998/namespace"/>
    <ds:schemaRef ds:uri="http://purl.org/dc/elements/1.1/"/>
    <ds:schemaRef ds:uri="33817541-fad7-49a8-9210-88443c2b9402"/>
    <ds:schemaRef ds:uri="http://purl.org/dc/dcmitype/"/>
    <ds:schemaRef ds:uri="http://purl.org/dc/terms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999</TotalTime>
  <Words>74</Words>
  <Application>Microsoft Office PowerPoint</Application>
  <PresentationFormat>Widescreen</PresentationFormat>
  <Paragraphs>43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</vt:lpstr>
      <vt:lpstr>Arial Black</vt:lpstr>
      <vt:lpstr>Lucida Grande</vt:lpstr>
      <vt:lpstr>Calibri Light</vt:lpstr>
      <vt:lpstr>Human Sans</vt:lpstr>
      <vt:lpstr>Arial Unicode MS</vt:lpstr>
      <vt:lpstr>Calibri</vt:lpstr>
      <vt:lpstr>Facit Semibold</vt:lpstr>
      <vt:lpstr>Trebuchet MS</vt:lpstr>
      <vt:lpstr>1_Presale_MASTER</vt:lpstr>
      <vt:lpstr>2_Presale_MASTER</vt:lpstr>
      <vt:lpstr>4_PV-01</vt:lpstr>
      <vt:lpstr>16_Continuum Theme</vt:lpstr>
      <vt:lpstr>14_Header &amp; Footer Slides</vt:lpstr>
      <vt:lpstr>PowerPoint Presentation</vt:lpstr>
      <vt:lpstr>Distribution overview</vt:lpstr>
      <vt:lpstr>Projects referencing</vt:lpstr>
      <vt:lpstr>Reference CI/CD pipeline</vt:lpstr>
      <vt:lpstr>Reference IaC pipeline</vt:lpstr>
      <vt:lpstr>Our clients</vt:lpstr>
      <vt:lpstr>DEMO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vel Dzemyantsau</dc:creator>
  <cp:lastModifiedBy>Vadzim Kazak1</cp:lastModifiedBy>
  <cp:revision>3</cp:revision>
  <cp:lastPrinted>2019-11-09T04:27:32Z</cp:lastPrinted>
  <dcterms:modified xsi:type="dcterms:W3CDTF">2021-02-25T12:0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B477E4D95714EB16CA2EAAC1E4C23</vt:lpwstr>
  </property>
  <property fmtid="{D5CDD505-2E9C-101B-9397-08002B2CF9AE}" pid="3" name="ImportRevision">
    <vt:lpwstr>636534389348957920</vt:lpwstr>
  </property>
  <property fmtid="{D5CDD505-2E9C-101B-9397-08002B2CF9AE}" pid="4" name="LastSlideExtractorGeneratingTime">
    <vt:lpwstr>2/5/2018 9:48:54 AM</vt:lpwstr>
  </property>
  <property fmtid="{D5CDD505-2E9C-101B-9397-08002B2CF9AE}" pid="5" name="LastSlideGeneratingTime">
    <vt:lpwstr>2/5/2018 9:48:54 AM</vt:lpwstr>
  </property>
  <property fmtid="{D5CDD505-2E9C-101B-9397-08002B2CF9AE}" pid="6" name="AuthorIds_UIVersion_7168">
    <vt:lpwstr>12</vt:lpwstr>
  </property>
  <property fmtid="{D5CDD505-2E9C-101B-9397-08002B2CF9AE}" pid="7" name="AuthorIds_UIVersion_10752">
    <vt:lpwstr>12</vt:lpwstr>
  </property>
  <property fmtid="{D5CDD505-2E9C-101B-9397-08002B2CF9AE}" pid="8" name="AuthorIds_UIVersion_45056">
    <vt:lpwstr>14</vt:lpwstr>
  </property>
</Properties>
</file>